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7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70" r:id="rId1"/>
  </p:sldMasterIdLst>
  <p:notesMasterIdLst>
    <p:notesMasterId r:id="rId7"/>
  </p:notesMasterIdLst>
  <p:handoutMasterIdLst>
    <p:handoutMasterId r:id="rId8"/>
  </p:handoutMasterIdLst>
  <p:sldIdLst>
    <p:sldId id="634" r:id="rId2"/>
    <p:sldId id="636" r:id="rId3"/>
    <p:sldId id="637" r:id="rId4"/>
    <p:sldId id="638" r:id="rId5"/>
    <p:sldId id="639" r:id="rId6"/>
  </p:sldIdLst>
  <p:sldSz cx="10691813" cy="7559675"/>
  <p:notesSz cx="6858000" cy="9144000"/>
  <p:custDataLst>
    <p:tags r:id="rId9"/>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31" userDrawn="1">
          <p15:clr>
            <a:srgbClr val="A4A3A4"/>
          </p15:clr>
        </p15:guide>
        <p15:guide id="2" orient="horz" pos="781" userDrawn="1">
          <p15:clr>
            <a:srgbClr val="A4A3A4"/>
          </p15:clr>
        </p15:guide>
        <p15:guide id="3" orient="horz" pos="4384" userDrawn="1">
          <p15:clr>
            <a:srgbClr val="A4A3A4"/>
          </p15:clr>
        </p15:guide>
        <p15:guide id="4" orient="horz" pos="831" userDrawn="1">
          <p15:clr>
            <a:srgbClr val="A4A3A4"/>
          </p15:clr>
        </p15:guide>
        <p15:guide id="5" orient="horz" pos="176" userDrawn="1">
          <p15:clr>
            <a:srgbClr val="A4A3A4"/>
          </p15:clr>
        </p15:guide>
        <p15:guide id="6" orient="horz" pos="4081" userDrawn="1">
          <p15:clr>
            <a:srgbClr val="A4A3A4"/>
          </p15:clr>
        </p15:guide>
        <p15:guide id="7" orient="horz" pos="4131" userDrawn="1">
          <p15:clr>
            <a:srgbClr val="A4A3A4"/>
          </p15:clr>
        </p15:guide>
        <p15:guide id="8" pos="3368" userDrawn="1">
          <p15:clr>
            <a:srgbClr val="A4A3A4"/>
          </p15:clr>
        </p15:guide>
        <p15:guide id="9" pos="368" userDrawn="1">
          <p15:clr>
            <a:srgbClr val="A4A3A4"/>
          </p15:clr>
        </p15:guide>
        <p15:guide id="10" pos="6375"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3C5F"/>
    <a:srgbClr val="0A2F54"/>
    <a:srgbClr val="FFFFFF"/>
    <a:srgbClr val="103458"/>
    <a:srgbClr val="03294F"/>
    <a:srgbClr val="EFEFEC"/>
    <a:srgbClr val="EAEAE6"/>
    <a:srgbClr val="F0F0EF"/>
    <a:srgbClr val="1C3E61"/>
    <a:srgbClr val="FCFC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38A0A8-33BD-4AF1-8653-C2364657BD61}" v="9" dt="2026-04-15T00:05:13.3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1" autoAdjust="0"/>
    <p:restoredTop sz="94660"/>
  </p:normalViewPr>
  <p:slideViewPr>
    <p:cSldViewPr snapToGrid="0">
      <p:cViewPr varScale="1">
        <p:scale>
          <a:sx n="95" d="100"/>
          <a:sy n="95" d="100"/>
        </p:scale>
        <p:origin x="1050" y="90"/>
      </p:cViewPr>
      <p:guideLst>
        <p:guide orient="horz" pos="2331"/>
        <p:guide orient="horz" pos="781"/>
        <p:guide orient="horz" pos="4384"/>
        <p:guide orient="horz" pos="831"/>
        <p:guide orient="horz" pos="176"/>
        <p:guide orient="horz" pos="4081"/>
        <p:guide orient="horz" pos="4131"/>
        <p:guide pos="3368"/>
        <p:guide pos="368"/>
        <p:guide pos="6375"/>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9A2865F-B372-43D2-8255-7FA4007EBB59}" type="datetimeFigureOut">
              <a:rPr lang="en-AU" smtClean="0"/>
              <a:t>15/04/2026</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0834D938-244D-4739-949C-2C3FCC68DC46}" type="datetimeFigureOut">
              <a:rPr lang="en-AU" smtClean="0"/>
              <a:pPr/>
              <a:t>15/04/2026</a:t>
            </a:fld>
            <a:endParaRPr lang="en-AU"/>
          </a:p>
        </p:txBody>
      </p:sp>
      <p:sp>
        <p:nvSpPr>
          <p:cNvPr id="4" name="Slide Image Placeholder 3"/>
          <p:cNvSpPr>
            <a:spLocks noGrp="1" noRot="1" noChangeAspect="1"/>
          </p:cNvSpPr>
          <p:nvPr>
            <p:ph type="sldImg" idx="2"/>
          </p:nvPr>
        </p:nvSpPr>
        <p:spPr>
          <a:xfrm>
            <a:off x="1004888" y="685800"/>
            <a:ext cx="4848225"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0047910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2.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7.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69.xml"/><Relationship Id="rId6" Type="http://schemas.openxmlformats.org/officeDocument/2006/relationships/image" Target="../media/image14.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3">
            <a:lum/>
          </a:blip>
          <a:srcRect/>
          <a:stretch>
            <a:fillRect l="-12000" r="-12000"/>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6BD8F-3089-4403-7036-226A26B8BD53}"/>
              </a:ext>
            </a:extLst>
          </p:cNvPr>
          <p:cNvGraphicFramePr>
            <a:graphicFrameLocks noChangeAspect="1"/>
          </p:cNvGraphicFramePr>
          <p:nvPr userDrawn="1">
            <p:custDataLst>
              <p:tags r:id="rId1"/>
            </p:custDataLst>
            <p:extLst>
              <p:ext uri="{D42A27DB-BD31-4B8C-83A1-F6EECF244321}">
                <p14:modId xmlns:p14="http://schemas.microsoft.com/office/powerpoint/2010/main" val="1895927684"/>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B776BD8F-3089-4403-7036-226A26B8BD53}"/>
                          </a:ext>
                        </a:extLst>
                      </p:cNvPr>
                      <p:cNvPicPr/>
                      <p:nvPr/>
                    </p:nvPicPr>
                    <p:blipFill>
                      <a:blip r:embed="rId5"/>
                      <a:stretch>
                        <a:fillRect/>
                      </a:stretch>
                    </p:blipFill>
                    <p:spPr>
                      <a:xfrm>
                        <a:off x="1713" y="1750"/>
                        <a:ext cx="1715" cy="1751"/>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387358" y="6976682"/>
            <a:ext cx="1062765" cy="296656"/>
          </a:xfrm>
          <a:prstGeom prst="rect">
            <a:avLst/>
          </a:prstGeom>
        </p:spPr>
      </p:pic>
      <p:sp>
        <p:nvSpPr>
          <p:cNvPr id="8" name="Text Placeholder 10"/>
          <p:cNvSpPr>
            <a:spLocks noGrp="1"/>
          </p:cNvSpPr>
          <p:nvPr>
            <p:ph type="body" sz="quarter" idx="10" hasCustomPrompt="1"/>
          </p:nvPr>
        </p:nvSpPr>
        <p:spPr>
          <a:xfrm>
            <a:off x="582837" y="4096602"/>
            <a:ext cx="8222338" cy="1191371"/>
          </a:xfrm>
        </p:spPr>
        <p:txBody>
          <a:bodyPr anchor="b" anchorCtr="0"/>
          <a:lstStyle>
            <a:lvl1pPr rtl="0">
              <a:defRPr sz="3282">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82837" y="5447544"/>
            <a:ext cx="8222338" cy="554808"/>
          </a:xfrm>
        </p:spPr>
        <p:txBody>
          <a:bodyPr/>
          <a:lstStyle>
            <a:lvl1pPr rtl="0">
              <a:spcBef>
                <a:spcPts val="1231"/>
              </a:spcBef>
              <a:defRPr sz="1435" baseline="0">
                <a:solidFill>
                  <a:schemeClr val="bg1"/>
                </a:solidFill>
              </a:defRPr>
            </a:lvl1pPr>
            <a:lvl2pPr>
              <a:defRPr sz="1435">
                <a:solidFill>
                  <a:schemeClr val="bg1"/>
                </a:solidFill>
              </a:defRPr>
            </a:lvl2pPr>
            <a:lvl3pPr>
              <a:defRPr sz="1435">
                <a:solidFill>
                  <a:schemeClr val="bg1"/>
                </a:solidFill>
              </a:defRPr>
            </a:lvl3pPr>
            <a:lvl4pPr>
              <a:defRPr sz="1435">
                <a:solidFill>
                  <a:schemeClr val="bg1"/>
                </a:solidFill>
              </a:defRPr>
            </a:lvl4pPr>
            <a:lvl5pPr>
              <a:defRPr sz="1435">
                <a:solidFill>
                  <a:schemeClr val="bg1"/>
                </a:solidFill>
              </a:defRPr>
            </a:lvl5pPr>
          </a:lstStyle>
          <a:p>
            <a:pPr lvl="0"/>
            <a:r>
              <a:rPr lang="en-AU" noProof="0"/>
              <a:t>Sub Title</a:t>
            </a:r>
          </a:p>
        </p:txBody>
      </p:sp>
      <p:sp>
        <p:nvSpPr>
          <p:cNvPr id="11" name="Rectangle 10"/>
          <p:cNvSpPr/>
          <p:nvPr userDrawn="1"/>
        </p:nvSpPr>
        <p:spPr>
          <a:xfrm>
            <a:off x="2" y="6479480"/>
            <a:ext cx="10708598" cy="1081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2" name="Picture 11" descr="A picture containing drawing&#10;&#10;Description automatically generated">
            <a:extLst>
              <a:ext uri="{FF2B5EF4-FFF2-40B4-BE49-F238E27FC236}">
                <a16:creationId xmlns:a16="http://schemas.microsoft.com/office/drawing/2014/main" id="{3C71E87D-CC01-45DB-A5BD-4546BCAE9DC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13041" y="6881562"/>
            <a:ext cx="1022172" cy="284900"/>
          </a:xfrm>
          <a:prstGeom prst="rect">
            <a:avLst/>
          </a:prstGeom>
        </p:spPr>
      </p:pic>
      <p:pic>
        <p:nvPicPr>
          <p:cNvPr id="10" name="Picture 9">
            <a:extLst>
              <a:ext uri="{FF2B5EF4-FFF2-40B4-BE49-F238E27FC236}">
                <a16:creationId xmlns:a16="http://schemas.microsoft.com/office/drawing/2014/main" id="{7B6B5AED-80CD-458E-B09D-EFE6F83C66CF}"/>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a:stretch/>
        </p:blipFill>
        <p:spPr bwMode="auto">
          <a:xfrm>
            <a:off x="1693057" y="1"/>
            <a:ext cx="8998756" cy="5023953"/>
          </a:xfrm>
          <a:custGeom>
            <a:avLst/>
            <a:gdLst>
              <a:gd name="connsiteX0" fmla="*/ 4567481 w 8337376"/>
              <a:gd name="connsiteY0" fmla="*/ 3716363 h 4557639"/>
              <a:gd name="connsiteX1" fmla="*/ 4567481 w 8337376"/>
              <a:gd name="connsiteY1" fmla="*/ 4006516 h 4557639"/>
              <a:gd name="connsiteX2" fmla="*/ 5060776 w 8337376"/>
              <a:gd name="connsiteY2" fmla="*/ 4006516 h 4557639"/>
              <a:gd name="connsiteX3" fmla="*/ 5060776 w 8337376"/>
              <a:gd name="connsiteY3" fmla="*/ 3716363 h 4557639"/>
              <a:gd name="connsiteX4" fmla="*/ 0 w 8337376"/>
              <a:gd name="connsiteY4" fmla="*/ 0 h 4557639"/>
              <a:gd name="connsiteX5" fmla="*/ 8337376 w 8337376"/>
              <a:gd name="connsiteY5" fmla="*/ 0 h 4557639"/>
              <a:gd name="connsiteX6" fmla="*/ 8337376 w 8337376"/>
              <a:gd name="connsiteY6" fmla="*/ 4557639 h 4557639"/>
              <a:gd name="connsiteX7" fmla="*/ 3677144 w 8337376"/>
              <a:gd name="connsiteY7" fmla="*/ 4557639 h 4557639"/>
              <a:gd name="connsiteX8" fmla="*/ 3677144 w 8337376"/>
              <a:gd name="connsiteY8" fmla="*/ 2616868 h 4557639"/>
              <a:gd name="connsiteX9" fmla="*/ 915897 w 8337376"/>
              <a:gd name="connsiteY9" fmla="*/ 2616868 h 4557639"/>
              <a:gd name="connsiteX10" fmla="*/ 915897 w 8337376"/>
              <a:gd name="connsiteY10" fmla="*/ 4557639 h 4557639"/>
              <a:gd name="connsiteX11" fmla="*/ 0 w 8337376"/>
              <a:gd name="connsiteY11" fmla="*/ 4557639 h 455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37376" h="4557639">
                <a:moveTo>
                  <a:pt x="4567481" y="3716363"/>
                </a:moveTo>
                <a:lnTo>
                  <a:pt x="4567481" y="4006516"/>
                </a:lnTo>
                <a:lnTo>
                  <a:pt x="5060776" y="4006516"/>
                </a:lnTo>
                <a:lnTo>
                  <a:pt x="5060776" y="3716363"/>
                </a:lnTo>
                <a:close/>
                <a:moveTo>
                  <a:pt x="0" y="0"/>
                </a:moveTo>
                <a:lnTo>
                  <a:pt x="8337376" y="0"/>
                </a:lnTo>
                <a:lnTo>
                  <a:pt x="8337376" y="4557639"/>
                </a:lnTo>
                <a:lnTo>
                  <a:pt x="3677144" y="4557639"/>
                </a:lnTo>
                <a:lnTo>
                  <a:pt x="3677144" y="2616868"/>
                </a:lnTo>
                <a:lnTo>
                  <a:pt x="915897" y="2616868"/>
                </a:lnTo>
                <a:lnTo>
                  <a:pt x="915897" y="4557639"/>
                </a:lnTo>
                <a:lnTo>
                  <a:pt x="0" y="4557639"/>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7419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s blu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F514AF4-F176-498B-9FB8-AA494C0597A2}"/>
              </a:ext>
            </a:extLst>
          </p:cNvPr>
          <p:cNvSpPr/>
          <p:nvPr userDrawn="1"/>
        </p:nvSpPr>
        <p:spPr>
          <a:xfrm>
            <a:off x="2" y="1193633"/>
            <a:ext cx="10693108" cy="57669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16267687"/>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
        <p:nvSpPr>
          <p:cNvPr id="6" name="Text Placeholder 2">
            <a:extLst>
              <a:ext uri="{FF2B5EF4-FFF2-40B4-BE49-F238E27FC236}">
                <a16:creationId xmlns:a16="http://schemas.microsoft.com/office/drawing/2014/main" id="{EF28E554-CE11-0EF2-DD1F-94948CFD5046}"/>
              </a:ext>
            </a:extLst>
          </p:cNvPr>
          <p:cNvSpPr>
            <a:spLocks noGrp="1"/>
          </p:cNvSpPr>
          <p:nvPr>
            <p:ph type="body" sz="quarter" idx="10" hasCustomPrompt="1"/>
          </p:nvPr>
        </p:nvSpPr>
        <p:spPr>
          <a:xfrm>
            <a:off x="582838" y="1664713"/>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1"/>
                </a:solidFill>
              </a:defRPr>
            </a:lvl1pPr>
          </a:lstStyle>
          <a:p>
            <a:pPr lvl="0"/>
            <a:r>
              <a:rPr lang="en-AU"/>
              <a:t>#</a:t>
            </a:r>
          </a:p>
        </p:txBody>
      </p:sp>
      <p:sp>
        <p:nvSpPr>
          <p:cNvPr id="8" name="Text Placeholder 13">
            <a:extLst>
              <a:ext uri="{FF2B5EF4-FFF2-40B4-BE49-F238E27FC236}">
                <a16:creationId xmlns:a16="http://schemas.microsoft.com/office/drawing/2014/main" id="{CF30806F-FD61-3948-6581-A06F11CF0D04}"/>
              </a:ext>
            </a:extLst>
          </p:cNvPr>
          <p:cNvSpPr>
            <a:spLocks noGrp="1"/>
          </p:cNvSpPr>
          <p:nvPr>
            <p:ph type="body" sz="quarter" idx="16" hasCustomPrompt="1"/>
          </p:nvPr>
        </p:nvSpPr>
        <p:spPr>
          <a:xfrm>
            <a:off x="1321097" y="1759802"/>
            <a:ext cx="8781404" cy="305048"/>
          </a:xfrm>
          <a:prstGeom prst="rect">
            <a:avLst/>
          </a:prstGeom>
          <a:noFill/>
        </p:spPr>
        <p:txBody>
          <a:bodyPr/>
          <a:lstStyle>
            <a:lvl1pPr rtl="0">
              <a:defRPr sz="1435">
                <a:solidFill>
                  <a:schemeClr val="bg1"/>
                </a:solidFill>
                <a:latin typeface="+mj-lt"/>
              </a:defRPr>
            </a:lvl1pPr>
          </a:lstStyle>
          <a:p>
            <a:pPr lvl="0"/>
            <a:r>
              <a:rPr lang="en-AU"/>
              <a:t>Title</a:t>
            </a:r>
          </a:p>
        </p:txBody>
      </p:sp>
      <p:sp>
        <p:nvSpPr>
          <p:cNvPr id="9" name="Text Placeholder 2">
            <a:extLst>
              <a:ext uri="{FF2B5EF4-FFF2-40B4-BE49-F238E27FC236}">
                <a16:creationId xmlns:a16="http://schemas.microsoft.com/office/drawing/2014/main" id="{C5227653-B342-156B-9187-871158986E1F}"/>
              </a:ext>
            </a:extLst>
          </p:cNvPr>
          <p:cNvSpPr>
            <a:spLocks noGrp="1"/>
          </p:cNvSpPr>
          <p:nvPr>
            <p:ph type="body" sz="quarter" idx="17" hasCustomPrompt="1"/>
          </p:nvPr>
        </p:nvSpPr>
        <p:spPr>
          <a:xfrm>
            <a:off x="582838" y="2364930"/>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1"/>
                </a:solidFill>
              </a:defRPr>
            </a:lvl1pPr>
          </a:lstStyle>
          <a:p>
            <a:pPr lvl="0"/>
            <a:r>
              <a:rPr lang="en-AU"/>
              <a:t>#</a:t>
            </a:r>
          </a:p>
        </p:txBody>
      </p:sp>
      <p:sp>
        <p:nvSpPr>
          <p:cNvPr id="10" name="Text Placeholder 13">
            <a:extLst>
              <a:ext uri="{FF2B5EF4-FFF2-40B4-BE49-F238E27FC236}">
                <a16:creationId xmlns:a16="http://schemas.microsoft.com/office/drawing/2014/main" id="{06DAC0E0-1457-0C7A-9517-CB58B786AF5A}"/>
              </a:ext>
            </a:extLst>
          </p:cNvPr>
          <p:cNvSpPr>
            <a:spLocks noGrp="1"/>
          </p:cNvSpPr>
          <p:nvPr>
            <p:ph type="body" sz="quarter" idx="18" hasCustomPrompt="1"/>
          </p:nvPr>
        </p:nvSpPr>
        <p:spPr>
          <a:xfrm>
            <a:off x="1321097" y="2460019"/>
            <a:ext cx="8781404" cy="305048"/>
          </a:xfrm>
          <a:prstGeom prst="rect">
            <a:avLst/>
          </a:prstGeom>
          <a:noFill/>
        </p:spPr>
        <p:txBody>
          <a:bodyPr/>
          <a:lstStyle>
            <a:lvl1pPr rtl="0">
              <a:defRPr sz="1435">
                <a:solidFill>
                  <a:schemeClr val="bg1"/>
                </a:solidFill>
                <a:latin typeface="+mj-lt"/>
              </a:defRPr>
            </a:lvl1pPr>
          </a:lstStyle>
          <a:p>
            <a:pPr lvl="0"/>
            <a:r>
              <a:rPr lang="en-AU"/>
              <a:t>Title</a:t>
            </a:r>
          </a:p>
        </p:txBody>
      </p:sp>
      <p:sp>
        <p:nvSpPr>
          <p:cNvPr id="11" name="Text Placeholder 2">
            <a:extLst>
              <a:ext uri="{FF2B5EF4-FFF2-40B4-BE49-F238E27FC236}">
                <a16:creationId xmlns:a16="http://schemas.microsoft.com/office/drawing/2014/main" id="{6357B652-3C21-6884-FA26-80D795F524C2}"/>
              </a:ext>
            </a:extLst>
          </p:cNvPr>
          <p:cNvSpPr>
            <a:spLocks noGrp="1"/>
          </p:cNvSpPr>
          <p:nvPr>
            <p:ph type="body" sz="quarter" idx="19" hasCustomPrompt="1"/>
          </p:nvPr>
        </p:nvSpPr>
        <p:spPr>
          <a:xfrm>
            <a:off x="582838" y="3065147"/>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1"/>
                </a:solidFill>
              </a:defRPr>
            </a:lvl1pPr>
          </a:lstStyle>
          <a:p>
            <a:pPr lvl="0"/>
            <a:r>
              <a:rPr lang="en-AU"/>
              <a:t>#</a:t>
            </a:r>
          </a:p>
        </p:txBody>
      </p:sp>
      <p:sp>
        <p:nvSpPr>
          <p:cNvPr id="13" name="Text Placeholder 13">
            <a:extLst>
              <a:ext uri="{FF2B5EF4-FFF2-40B4-BE49-F238E27FC236}">
                <a16:creationId xmlns:a16="http://schemas.microsoft.com/office/drawing/2014/main" id="{3822CA58-B076-A566-41DE-49118C80D555}"/>
              </a:ext>
            </a:extLst>
          </p:cNvPr>
          <p:cNvSpPr>
            <a:spLocks noGrp="1"/>
          </p:cNvSpPr>
          <p:nvPr>
            <p:ph type="body" sz="quarter" idx="20" hasCustomPrompt="1"/>
          </p:nvPr>
        </p:nvSpPr>
        <p:spPr>
          <a:xfrm>
            <a:off x="1321097" y="3160236"/>
            <a:ext cx="8781404" cy="305048"/>
          </a:xfrm>
          <a:prstGeom prst="rect">
            <a:avLst/>
          </a:prstGeom>
          <a:noFill/>
        </p:spPr>
        <p:txBody>
          <a:bodyPr/>
          <a:lstStyle>
            <a:lvl1pPr rtl="0">
              <a:defRPr sz="1435">
                <a:solidFill>
                  <a:schemeClr val="bg1"/>
                </a:solidFill>
                <a:latin typeface="+mj-lt"/>
              </a:defRPr>
            </a:lvl1pPr>
          </a:lstStyle>
          <a:p>
            <a:pPr lvl="0"/>
            <a:r>
              <a:rPr lang="en-AU"/>
              <a:t>Title</a:t>
            </a:r>
          </a:p>
        </p:txBody>
      </p:sp>
      <p:sp>
        <p:nvSpPr>
          <p:cNvPr id="14" name="Text Placeholder 2">
            <a:extLst>
              <a:ext uri="{FF2B5EF4-FFF2-40B4-BE49-F238E27FC236}">
                <a16:creationId xmlns:a16="http://schemas.microsoft.com/office/drawing/2014/main" id="{D53068FD-414F-A93D-2B22-1916D4FFB48E}"/>
              </a:ext>
            </a:extLst>
          </p:cNvPr>
          <p:cNvSpPr>
            <a:spLocks noGrp="1"/>
          </p:cNvSpPr>
          <p:nvPr>
            <p:ph type="body" sz="quarter" idx="21" hasCustomPrompt="1"/>
          </p:nvPr>
        </p:nvSpPr>
        <p:spPr>
          <a:xfrm>
            <a:off x="582838" y="3765363"/>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1"/>
                </a:solidFill>
              </a:defRPr>
            </a:lvl1pPr>
          </a:lstStyle>
          <a:p>
            <a:pPr lvl="0"/>
            <a:r>
              <a:rPr lang="en-AU"/>
              <a:t>#</a:t>
            </a:r>
          </a:p>
        </p:txBody>
      </p:sp>
      <p:sp>
        <p:nvSpPr>
          <p:cNvPr id="16" name="Text Placeholder 13">
            <a:extLst>
              <a:ext uri="{FF2B5EF4-FFF2-40B4-BE49-F238E27FC236}">
                <a16:creationId xmlns:a16="http://schemas.microsoft.com/office/drawing/2014/main" id="{EBDB9C6B-5D4E-85BE-E7A3-A7A2FF593ED3}"/>
              </a:ext>
            </a:extLst>
          </p:cNvPr>
          <p:cNvSpPr>
            <a:spLocks noGrp="1"/>
          </p:cNvSpPr>
          <p:nvPr>
            <p:ph type="body" sz="quarter" idx="22" hasCustomPrompt="1"/>
          </p:nvPr>
        </p:nvSpPr>
        <p:spPr>
          <a:xfrm>
            <a:off x="1321097" y="3860453"/>
            <a:ext cx="8781404" cy="305048"/>
          </a:xfrm>
          <a:prstGeom prst="rect">
            <a:avLst/>
          </a:prstGeom>
          <a:noFill/>
        </p:spPr>
        <p:txBody>
          <a:bodyPr/>
          <a:lstStyle>
            <a:lvl1pPr rtl="0">
              <a:defRPr sz="1435">
                <a:solidFill>
                  <a:schemeClr val="bg1"/>
                </a:solidFill>
                <a:latin typeface="+mj-lt"/>
              </a:defRPr>
            </a:lvl1pPr>
          </a:lstStyle>
          <a:p>
            <a:pPr lvl="0"/>
            <a:r>
              <a:rPr lang="en-AU"/>
              <a:t>Title</a:t>
            </a:r>
          </a:p>
        </p:txBody>
      </p:sp>
      <p:sp>
        <p:nvSpPr>
          <p:cNvPr id="18" name="Text Placeholder 2">
            <a:extLst>
              <a:ext uri="{FF2B5EF4-FFF2-40B4-BE49-F238E27FC236}">
                <a16:creationId xmlns:a16="http://schemas.microsoft.com/office/drawing/2014/main" id="{16AC0193-8F7D-1119-08C0-6A248726804A}"/>
              </a:ext>
            </a:extLst>
          </p:cNvPr>
          <p:cNvSpPr>
            <a:spLocks noGrp="1"/>
          </p:cNvSpPr>
          <p:nvPr>
            <p:ph type="body" sz="quarter" idx="23" hasCustomPrompt="1"/>
          </p:nvPr>
        </p:nvSpPr>
        <p:spPr>
          <a:xfrm>
            <a:off x="582838" y="4465580"/>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1"/>
                </a:solidFill>
              </a:defRPr>
            </a:lvl1pPr>
          </a:lstStyle>
          <a:p>
            <a:pPr lvl="0"/>
            <a:r>
              <a:rPr lang="en-AU"/>
              <a:t>#</a:t>
            </a:r>
          </a:p>
        </p:txBody>
      </p:sp>
      <p:sp>
        <p:nvSpPr>
          <p:cNvPr id="20" name="Text Placeholder 13">
            <a:extLst>
              <a:ext uri="{FF2B5EF4-FFF2-40B4-BE49-F238E27FC236}">
                <a16:creationId xmlns:a16="http://schemas.microsoft.com/office/drawing/2014/main" id="{E33C8387-3E22-C655-3BC6-4B3674BD088E}"/>
              </a:ext>
            </a:extLst>
          </p:cNvPr>
          <p:cNvSpPr>
            <a:spLocks noGrp="1"/>
          </p:cNvSpPr>
          <p:nvPr>
            <p:ph type="body" sz="quarter" idx="24" hasCustomPrompt="1"/>
          </p:nvPr>
        </p:nvSpPr>
        <p:spPr>
          <a:xfrm>
            <a:off x="1321097" y="4560670"/>
            <a:ext cx="8781404" cy="305048"/>
          </a:xfrm>
          <a:prstGeom prst="rect">
            <a:avLst/>
          </a:prstGeom>
          <a:noFill/>
        </p:spPr>
        <p:txBody>
          <a:bodyPr/>
          <a:lstStyle>
            <a:lvl1pPr rtl="0">
              <a:defRPr sz="1435">
                <a:solidFill>
                  <a:schemeClr val="bg1"/>
                </a:solidFill>
                <a:latin typeface="+mj-lt"/>
              </a:defRPr>
            </a:lvl1pPr>
          </a:lstStyle>
          <a:p>
            <a:pPr lvl="0"/>
            <a:r>
              <a:rPr lang="en-AU"/>
              <a:t>Title</a:t>
            </a:r>
          </a:p>
        </p:txBody>
      </p:sp>
      <p:sp>
        <p:nvSpPr>
          <p:cNvPr id="22" name="Text Placeholder 2">
            <a:extLst>
              <a:ext uri="{FF2B5EF4-FFF2-40B4-BE49-F238E27FC236}">
                <a16:creationId xmlns:a16="http://schemas.microsoft.com/office/drawing/2014/main" id="{039E31ED-91F1-9F98-3783-EC64BF89093C}"/>
              </a:ext>
            </a:extLst>
          </p:cNvPr>
          <p:cNvSpPr>
            <a:spLocks noGrp="1"/>
          </p:cNvSpPr>
          <p:nvPr>
            <p:ph type="body" sz="quarter" idx="25" hasCustomPrompt="1"/>
          </p:nvPr>
        </p:nvSpPr>
        <p:spPr>
          <a:xfrm>
            <a:off x="582838" y="5165797"/>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1"/>
                </a:solidFill>
              </a:defRPr>
            </a:lvl1pPr>
          </a:lstStyle>
          <a:p>
            <a:pPr lvl="0"/>
            <a:r>
              <a:rPr lang="en-AU"/>
              <a:t>#</a:t>
            </a:r>
          </a:p>
        </p:txBody>
      </p:sp>
      <p:sp>
        <p:nvSpPr>
          <p:cNvPr id="23" name="Text Placeholder 13">
            <a:extLst>
              <a:ext uri="{FF2B5EF4-FFF2-40B4-BE49-F238E27FC236}">
                <a16:creationId xmlns:a16="http://schemas.microsoft.com/office/drawing/2014/main" id="{D56E0354-67E0-B84D-403B-5E687CBEC052}"/>
              </a:ext>
            </a:extLst>
          </p:cNvPr>
          <p:cNvSpPr>
            <a:spLocks noGrp="1"/>
          </p:cNvSpPr>
          <p:nvPr>
            <p:ph type="body" sz="quarter" idx="26" hasCustomPrompt="1"/>
          </p:nvPr>
        </p:nvSpPr>
        <p:spPr>
          <a:xfrm>
            <a:off x="1321097" y="5260887"/>
            <a:ext cx="8781404" cy="305048"/>
          </a:xfrm>
          <a:prstGeom prst="rect">
            <a:avLst/>
          </a:prstGeom>
          <a:noFill/>
        </p:spPr>
        <p:txBody>
          <a:bodyPr/>
          <a:lstStyle>
            <a:lvl1pPr rtl="0">
              <a:defRPr sz="1435">
                <a:solidFill>
                  <a:schemeClr val="bg1"/>
                </a:solidFill>
                <a:latin typeface="+mj-lt"/>
              </a:defRPr>
            </a:lvl1pPr>
          </a:lstStyle>
          <a:p>
            <a:pPr lvl="0"/>
            <a:r>
              <a:rPr lang="en-AU"/>
              <a:t>Title</a:t>
            </a:r>
          </a:p>
        </p:txBody>
      </p:sp>
      <p:sp>
        <p:nvSpPr>
          <p:cNvPr id="25" name="Text Placeholder 2">
            <a:extLst>
              <a:ext uri="{FF2B5EF4-FFF2-40B4-BE49-F238E27FC236}">
                <a16:creationId xmlns:a16="http://schemas.microsoft.com/office/drawing/2014/main" id="{62BB52F7-2CBA-6A7B-4157-0437D1D47349}"/>
              </a:ext>
            </a:extLst>
          </p:cNvPr>
          <p:cNvSpPr>
            <a:spLocks noGrp="1"/>
          </p:cNvSpPr>
          <p:nvPr>
            <p:ph type="body" sz="quarter" idx="27" hasCustomPrompt="1"/>
          </p:nvPr>
        </p:nvSpPr>
        <p:spPr>
          <a:xfrm>
            <a:off x="582838" y="5866016"/>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1"/>
                </a:solidFill>
              </a:defRPr>
            </a:lvl1pPr>
          </a:lstStyle>
          <a:p>
            <a:pPr lvl="0"/>
            <a:r>
              <a:rPr lang="en-AU"/>
              <a:t>#</a:t>
            </a:r>
          </a:p>
        </p:txBody>
      </p:sp>
      <p:sp>
        <p:nvSpPr>
          <p:cNvPr id="26" name="Text Placeholder 13">
            <a:extLst>
              <a:ext uri="{FF2B5EF4-FFF2-40B4-BE49-F238E27FC236}">
                <a16:creationId xmlns:a16="http://schemas.microsoft.com/office/drawing/2014/main" id="{AC15E4C1-46BD-C74D-8F56-EE4DECC80C8C}"/>
              </a:ext>
            </a:extLst>
          </p:cNvPr>
          <p:cNvSpPr>
            <a:spLocks noGrp="1"/>
          </p:cNvSpPr>
          <p:nvPr>
            <p:ph type="body" sz="quarter" idx="28" hasCustomPrompt="1"/>
          </p:nvPr>
        </p:nvSpPr>
        <p:spPr>
          <a:xfrm>
            <a:off x="1321097" y="5961106"/>
            <a:ext cx="8781404" cy="305048"/>
          </a:xfrm>
          <a:prstGeom prst="rect">
            <a:avLst/>
          </a:prstGeom>
          <a:noFill/>
        </p:spPr>
        <p:txBody>
          <a:bodyPr/>
          <a:lstStyle>
            <a:lvl1pPr rtl="0">
              <a:defRPr sz="1435">
                <a:solidFill>
                  <a:schemeClr val="bg1"/>
                </a:solidFill>
                <a:latin typeface="+mj-lt"/>
              </a:defRPr>
            </a:lvl1pPr>
          </a:lstStyle>
          <a:p>
            <a:pPr lvl="0"/>
            <a:r>
              <a:rPr lang="en-AU"/>
              <a:t>Title</a:t>
            </a:r>
          </a:p>
        </p:txBody>
      </p:sp>
      <p:sp>
        <p:nvSpPr>
          <p:cNvPr id="27" name="Title 1">
            <a:extLst>
              <a:ext uri="{FF2B5EF4-FFF2-40B4-BE49-F238E27FC236}">
                <a16:creationId xmlns:a16="http://schemas.microsoft.com/office/drawing/2014/main" id="{F901C2DC-6559-CB40-E33E-250178E27F50}"/>
              </a:ext>
            </a:extLst>
          </p:cNvPr>
          <p:cNvSpPr>
            <a:spLocks noGrp="1"/>
          </p:cNvSpPr>
          <p:nvPr>
            <p:ph type="title" hasCustomPrompt="1"/>
          </p:nvPr>
        </p:nvSpPr>
        <p:spPr>
          <a:xfrm>
            <a:off x="582836" y="436518"/>
            <a:ext cx="9519664" cy="376371"/>
          </a:xfrm>
        </p:spPr>
        <p:txBody>
          <a:bodyPr vert="horz">
            <a:spAutoFit/>
          </a:bodyPr>
          <a:lstStyle>
            <a:lvl1pPr rtl="0">
              <a:lnSpc>
                <a:spcPct val="100000"/>
              </a:lnSpc>
              <a:defRPr sz="1846"/>
            </a:lvl1pPr>
          </a:lstStyle>
          <a:p>
            <a:r>
              <a:rPr lang="en-AU" noProof="0"/>
              <a:t>Contents</a:t>
            </a:r>
          </a:p>
        </p:txBody>
      </p:sp>
      <p:sp>
        <p:nvSpPr>
          <p:cNvPr id="28" name="TextBox 27">
            <a:extLst>
              <a:ext uri="{FF2B5EF4-FFF2-40B4-BE49-F238E27FC236}">
                <a16:creationId xmlns:a16="http://schemas.microsoft.com/office/drawing/2014/main" id="{B3B21803-A997-F8D2-81FD-DC149EB481AE}"/>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79199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ntents blu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F514AF4-F176-498B-9FB8-AA494C0597A2}"/>
              </a:ext>
            </a:extLst>
          </p:cNvPr>
          <p:cNvSpPr/>
          <p:nvPr userDrawn="1"/>
        </p:nvSpPr>
        <p:spPr>
          <a:xfrm>
            <a:off x="2" y="1193633"/>
            <a:ext cx="10693108" cy="57669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5" name="Text Placeholder 13"/>
          <p:cNvSpPr>
            <a:spLocks noGrp="1"/>
          </p:cNvSpPr>
          <p:nvPr>
            <p:ph type="body" sz="quarter" idx="18" hasCustomPrompt="1"/>
          </p:nvPr>
        </p:nvSpPr>
        <p:spPr>
          <a:xfrm>
            <a:off x="582837" y="1666701"/>
            <a:ext cx="9519664" cy="607155"/>
          </a:xfrm>
          <a:prstGeom prst="rect">
            <a:avLst/>
          </a:prstGeom>
          <a:solidFill>
            <a:schemeClr val="bg1">
              <a:alpha val="7000"/>
            </a:schemeClr>
          </a:solidFill>
        </p:spPr>
        <p:txBody>
          <a:bodyPr lIns="756000" anchor="ctr" anchorCtr="0"/>
          <a:lstStyle>
            <a:lvl1pPr rtl="0">
              <a:defRPr sz="1846">
                <a:solidFill>
                  <a:schemeClr val="bg1"/>
                </a:solidFill>
                <a:latin typeface="+mj-lt"/>
              </a:defRPr>
            </a:lvl1pPr>
          </a:lstStyle>
          <a:p>
            <a:pPr lvl="0"/>
            <a:r>
              <a:rPr lang="en-AU"/>
              <a:t>Section 1</a:t>
            </a:r>
          </a:p>
        </p:txBody>
      </p:sp>
      <p:sp>
        <p:nvSpPr>
          <p:cNvPr id="17" name="Text Placeholder 13"/>
          <p:cNvSpPr>
            <a:spLocks noGrp="1"/>
          </p:cNvSpPr>
          <p:nvPr>
            <p:ph type="body" sz="quarter" idx="20" hasCustomPrompt="1"/>
          </p:nvPr>
        </p:nvSpPr>
        <p:spPr>
          <a:xfrm>
            <a:off x="582837" y="2498378"/>
            <a:ext cx="9519664" cy="607155"/>
          </a:xfrm>
          <a:prstGeom prst="rect">
            <a:avLst/>
          </a:prstGeom>
          <a:solidFill>
            <a:schemeClr val="bg1">
              <a:alpha val="7000"/>
            </a:schemeClr>
          </a:solidFill>
        </p:spPr>
        <p:txBody>
          <a:bodyPr lIns="756000" anchor="ctr" anchorCtr="0"/>
          <a:lstStyle>
            <a:lvl1pPr rtl="0">
              <a:defRPr sz="1846">
                <a:solidFill>
                  <a:schemeClr val="bg1"/>
                </a:solidFill>
                <a:latin typeface="+mj-lt"/>
              </a:defRPr>
            </a:lvl1pPr>
          </a:lstStyle>
          <a:p>
            <a:pPr lvl="0"/>
            <a:r>
              <a:rPr lang="en-AU"/>
              <a:t>Section 2</a:t>
            </a:r>
          </a:p>
        </p:txBody>
      </p:sp>
      <p:sp>
        <p:nvSpPr>
          <p:cNvPr id="19" name="Text Placeholder 13"/>
          <p:cNvSpPr>
            <a:spLocks noGrp="1"/>
          </p:cNvSpPr>
          <p:nvPr>
            <p:ph type="body" sz="quarter" idx="22" hasCustomPrompt="1"/>
          </p:nvPr>
        </p:nvSpPr>
        <p:spPr>
          <a:xfrm>
            <a:off x="582837" y="3330057"/>
            <a:ext cx="9519664" cy="607155"/>
          </a:xfrm>
          <a:prstGeom prst="rect">
            <a:avLst/>
          </a:prstGeom>
          <a:solidFill>
            <a:schemeClr val="bg1">
              <a:alpha val="7000"/>
            </a:schemeClr>
          </a:solidFill>
        </p:spPr>
        <p:txBody>
          <a:bodyPr lIns="756000" anchor="ctr" anchorCtr="0"/>
          <a:lstStyle>
            <a:lvl1pPr rtl="0">
              <a:defRPr sz="1846">
                <a:solidFill>
                  <a:schemeClr val="bg1"/>
                </a:solidFill>
                <a:latin typeface="+mj-lt"/>
              </a:defRPr>
            </a:lvl1pPr>
          </a:lstStyle>
          <a:p>
            <a:pPr lvl="0"/>
            <a:r>
              <a:rPr lang="en-AU"/>
              <a:t>Section 3</a:t>
            </a:r>
          </a:p>
        </p:txBody>
      </p:sp>
      <p:sp>
        <p:nvSpPr>
          <p:cNvPr id="21" name="Text Placeholder 13"/>
          <p:cNvSpPr>
            <a:spLocks noGrp="1"/>
          </p:cNvSpPr>
          <p:nvPr>
            <p:ph type="body" sz="quarter" idx="24" hasCustomPrompt="1"/>
          </p:nvPr>
        </p:nvSpPr>
        <p:spPr>
          <a:xfrm>
            <a:off x="582837" y="4161734"/>
            <a:ext cx="9519664" cy="607155"/>
          </a:xfrm>
          <a:prstGeom prst="rect">
            <a:avLst/>
          </a:prstGeom>
          <a:solidFill>
            <a:schemeClr val="bg1">
              <a:alpha val="7000"/>
            </a:schemeClr>
          </a:solidFill>
        </p:spPr>
        <p:txBody>
          <a:bodyPr lIns="756000" anchor="ctr" anchorCtr="0"/>
          <a:lstStyle>
            <a:lvl1pPr rtl="0">
              <a:defRPr sz="1846">
                <a:solidFill>
                  <a:schemeClr val="bg1"/>
                </a:solidFill>
                <a:latin typeface="+mj-lt"/>
              </a:defRPr>
            </a:lvl1pPr>
          </a:lstStyle>
          <a:p>
            <a:pPr lvl="0"/>
            <a:r>
              <a:rPr lang="en-AU"/>
              <a:t>Section 4</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9958091"/>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
        <p:nvSpPr>
          <p:cNvPr id="12" name="Text Placeholder 13">
            <a:extLst>
              <a:ext uri="{FF2B5EF4-FFF2-40B4-BE49-F238E27FC236}">
                <a16:creationId xmlns:a16="http://schemas.microsoft.com/office/drawing/2014/main" id="{8130EBE4-498A-4C5C-A2EF-3D82485DC2C7}"/>
              </a:ext>
            </a:extLst>
          </p:cNvPr>
          <p:cNvSpPr>
            <a:spLocks noGrp="1"/>
          </p:cNvSpPr>
          <p:nvPr>
            <p:ph type="body" sz="quarter" idx="25" hasCustomPrompt="1"/>
          </p:nvPr>
        </p:nvSpPr>
        <p:spPr>
          <a:xfrm>
            <a:off x="582837" y="4993412"/>
            <a:ext cx="9519664" cy="607155"/>
          </a:xfrm>
          <a:prstGeom prst="rect">
            <a:avLst/>
          </a:prstGeom>
          <a:solidFill>
            <a:schemeClr val="bg1">
              <a:alpha val="7000"/>
            </a:schemeClr>
          </a:solidFill>
        </p:spPr>
        <p:txBody>
          <a:bodyPr lIns="756000" anchor="ctr" anchorCtr="0"/>
          <a:lstStyle>
            <a:lvl1pPr rtl="0">
              <a:defRPr sz="1846">
                <a:solidFill>
                  <a:schemeClr val="bg1"/>
                </a:solidFill>
                <a:latin typeface="+mj-lt"/>
              </a:defRPr>
            </a:lvl1pPr>
          </a:lstStyle>
          <a:p>
            <a:pPr lvl="0"/>
            <a:r>
              <a:rPr lang="en-AU"/>
              <a:t>Section 5</a:t>
            </a:r>
          </a:p>
        </p:txBody>
      </p:sp>
      <p:sp>
        <p:nvSpPr>
          <p:cNvPr id="5" name="Text Placeholder 13">
            <a:extLst>
              <a:ext uri="{FF2B5EF4-FFF2-40B4-BE49-F238E27FC236}">
                <a16:creationId xmlns:a16="http://schemas.microsoft.com/office/drawing/2014/main" id="{1C85F5F9-EAFB-3231-965B-3BE4E8A26024}"/>
              </a:ext>
            </a:extLst>
          </p:cNvPr>
          <p:cNvSpPr>
            <a:spLocks noGrp="1"/>
          </p:cNvSpPr>
          <p:nvPr>
            <p:ph type="body" sz="quarter" idx="26" hasCustomPrompt="1"/>
          </p:nvPr>
        </p:nvSpPr>
        <p:spPr>
          <a:xfrm>
            <a:off x="582837" y="5825092"/>
            <a:ext cx="9519664" cy="607155"/>
          </a:xfrm>
          <a:prstGeom prst="rect">
            <a:avLst/>
          </a:prstGeom>
          <a:solidFill>
            <a:schemeClr val="bg1">
              <a:alpha val="7000"/>
            </a:schemeClr>
          </a:solidFill>
        </p:spPr>
        <p:txBody>
          <a:bodyPr lIns="756000" anchor="ctr" anchorCtr="0"/>
          <a:lstStyle>
            <a:lvl1pPr rtl="0">
              <a:defRPr sz="1846">
                <a:solidFill>
                  <a:schemeClr val="bg1"/>
                </a:solidFill>
                <a:latin typeface="+mj-lt"/>
              </a:defRPr>
            </a:lvl1pPr>
          </a:lstStyle>
          <a:p>
            <a:pPr lvl="0"/>
            <a:r>
              <a:rPr lang="en-AU"/>
              <a:t>Section 6</a:t>
            </a:r>
          </a:p>
        </p:txBody>
      </p:sp>
      <p:sp>
        <p:nvSpPr>
          <p:cNvPr id="6" name="Title 1">
            <a:extLst>
              <a:ext uri="{FF2B5EF4-FFF2-40B4-BE49-F238E27FC236}">
                <a16:creationId xmlns:a16="http://schemas.microsoft.com/office/drawing/2014/main" id="{A264D6A0-9ED4-4011-0D73-CA968FBCE102}"/>
              </a:ext>
            </a:extLst>
          </p:cNvPr>
          <p:cNvSpPr>
            <a:spLocks noGrp="1"/>
          </p:cNvSpPr>
          <p:nvPr>
            <p:ph type="title" hasCustomPrompt="1"/>
          </p:nvPr>
        </p:nvSpPr>
        <p:spPr>
          <a:xfrm>
            <a:off x="582836" y="436518"/>
            <a:ext cx="9519664" cy="376371"/>
          </a:xfrm>
        </p:spPr>
        <p:txBody>
          <a:bodyPr vert="horz">
            <a:spAutoFit/>
          </a:bodyPr>
          <a:lstStyle>
            <a:lvl1pPr rtl="0">
              <a:lnSpc>
                <a:spcPct val="100000"/>
              </a:lnSpc>
              <a:defRPr sz="1846"/>
            </a:lvl1pPr>
          </a:lstStyle>
          <a:p>
            <a:r>
              <a:rPr lang="en-AU" noProof="0"/>
              <a:t>Contents</a:t>
            </a:r>
          </a:p>
        </p:txBody>
      </p:sp>
      <p:sp>
        <p:nvSpPr>
          <p:cNvPr id="8" name="TextBox 7">
            <a:extLst>
              <a:ext uri="{FF2B5EF4-FFF2-40B4-BE49-F238E27FC236}">
                <a16:creationId xmlns:a16="http://schemas.microsoft.com/office/drawing/2014/main" id="{7A822ED6-9B6D-5049-290C-8C438080DF37}"/>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97714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C894E7-E505-DDDE-3C4D-0ACC5E0B7716}"/>
              </a:ext>
            </a:extLst>
          </p:cNvPr>
          <p:cNvGraphicFramePr>
            <a:graphicFrameLocks noChangeAspect="1"/>
          </p:cNvGraphicFramePr>
          <p:nvPr userDrawn="1">
            <p:custDataLst>
              <p:tags r:id="rId1"/>
            </p:custDataLst>
            <p:extLst>
              <p:ext uri="{D42A27DB-BD31-4B8C-83A1-F6EECF244321}">
                <p14:modId xmlns:p14="http://schemas.microsoft.com/office/powerpoint/2010/main" val="321485594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49C894E7-E505-DDDE-3C4D-0ACC5E0B7716}"/>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0" name="Title 1"/>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a:t>
            </a:r>
          </a:p>
        </p:txBody>
      </p:sp>
      <p:sp>
        <p:nvSpPr>
          <p:cNvPr id="3" name="Text Placeholder 2"/>
          <p:cNvSpPr>
            <a:spLocks noGrp="1"/>
          </p:cNvSpPr>
          <p:nvPr>
            <p:ph type="body" sz="quarter" idx="10" hasCustomPrompt="1"/>
          </p:nvPr>
        </p:nvSpPr>
        <p:spPr>
          <a:xfrm>
            <a:off x="582839" y="7043792"/>
            <a:ext cx="9214154" cy="330735"/>
          </a:xfrm>
        </p:spPr>
        <p:txBody>
          <a:bodyPr anchor="ctr"/>
          <a:lstStyle>
            <a:lvl1pPr rtl="0">
              <a:defRPr sz="820">
                <a:solidFill>
                  <a:schemeClr val="tx1"/>
                </a:solidFill>
              </a:defRPr>
            </a:lvl1pPr>
          </a:lstStyle>
          <a:p>
            <a:pPr lvl="0"/>
            <a:r>
              <a:rPr lang="en-AU" noProof="0"/>
              <a:t>Source</a:t>
            </a:r>
          </a:p>
        </p:txBody>
      </p:sp>
      <p:sp>
        <p:nvSpPr>
          <p:cNvPr id="6" name="TextBox 5">
            <a:extLst>
              <a:ext uri="{FF2B5EF4-FFF2-40B4-BE49-F238E27FC236}">
                <a16:creationId xmlns:a16="http://schemas.microsoft.com/office/drawing/2014/main" id="{6C6A8646-8B08-C928-AB9A-10EF018B8EB8}"/>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258960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1744667315"/>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2" name="Text Placeholder 2">
            <a:extLst>
              <a:ext uri="{FF2B5EF4-FFF2-40B4-BE49-F238E27FC236}">
                <a16:creationId xmlns:a16="http://schemas.microsoft.com/office/drawing/2014/main" id="{21A9B150-B216-35AF-3927-693BCD18996F}"/>
              </a:ext>
            </a:extLst>
          </p:cNvPr>
          <p:cNvSpPr>
            <a:spLocks noGrp="1"/>
          </p:cNvSpPr>
          <p:nvPr>
            <p:ph idx="1"/>
          </p:nvPr>
        </p:nvSpPr>
        <p:spPr>
          <a:xfrm>
            <a:off x="582837" y="1388917"/>
            <a:ext cx="9519664" cy="5556283"/>
          </a:xfrm>
          <a:prstGeom prst="rect">
            <a:avLst/>
          </a:prstGeom>
        </p:spPr>
        <p:txBody>
          <a:bodyPr vert="horz" lIns="0" tIns="45713" rIns="0" bIns="45713" rtlCol="0">
            <a:noAutofit/>
          </a:bodyPr>
          <a:lstStyle>
            <a:lvl1pPr rtl="0">
              <a:defRPr/>
            </a:lvl1pPr>
            <a:lvl2pPr rtl="0">
              <a:defRPr/>
            </a:lvl2pPr>
            <a:lvl3pPr rtl="0">
              <a:defRPr/>
            </a:lvl3pPr>
            <a:lvl4pPr rtl="0">
              <a:defRPr/>
            </a:lvl4pPr>
            <a:lvl5pPr rtl="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7" name="Title 1">
            <a:extLst>
              <a:ext uri="{FF2B5EF4-FFF2-40B4-BE49-F238E27FC236}">
                <a16:creationId xmlns:a16="http://schemas.microsoft.com/office/drawing/2014/main" id="{C9E274FB-7460-E263-66F8-60BEED715365}"/>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8" name="TextBox 7">
            <a:extLst>
              <a:ext uri="{FF2B5EF4-FFF2-40B4-BE49-F238E27FC236}">
                <a16:creationId xmlns:a16="http://schemas.microsoft.com/office/drawing/2014/main" id="{0EA717A9-0D11-B792-6BB1-0661C5327F5A}"/>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2">
            <a:extLst>
              <a:ext uri="{FF2B5EF4-FFF2-40B4-BE49-F238E27FC236}">
                <a16:creationId xmlns:a16="http://schemas.microsoft.com/office/drawing/2014/main" id="{2B1E7EC7-4F07-E902-A8F1-2712F5B7F458}"/>
              </a:ext>
            </a:extLst>
          </p:cNvPr>
          <p:cNvSpPr>
            <a:spLocks noGrp="1"/>
          </p:cNvSpPr>
          <p:nvPr>
            <p:ph type="body" sz="quarter" idx="16"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Tree>
    <p:extLst>
      <p:ext uri="{BB962C8B-B14F-4D97-AF65-F5344CB8AC3E}">
        <p14:creationId xmlns:p14="http://schemas.microsoft.com/office/powerpoint/2010/main" val="41493142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_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1048734379"/>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F6D217C-06F9-4DA1-8EBB-ABA72921A348}"/>
              </a:ext>
            </a:extLst>
          </p:cNvPr>
          <p:cNvSpPr/>
          <p:nvPr userDrawn="1"/>
        </p:nvSpPr>
        <p:spPr>
          <a:xfrm>
            <a:off x="1" y="1239823"/>
            <a:ext cx="10691813" cy="57246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8" name="Title 1">
            <a:extLst>
              <a:ext uri="{FF2B5EF4-FFF2-40B4-BE49-F238E27FC236}">
                <a16:creationId xmlns:a16="http://schemas.microsoft.com/office/drawing/2014/main" id="{726BC19B-0114-7E3F-59AB-32EA98F05A23}"/>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9" name="TextBox 8">
            <a:extLst>
              <a:ext uri="{FF2B5EF4-FFF2-40B4-BE49-F238E27FC236}">
                <a16:creationId xmlns:a16="http://schemas.microsoft.com/office/drawing/2014/main" id="{BBF06B95-13FE-F415-B118-1EBF4BE8ED5C}"/>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Text Placeholder 2">
            <a:extLst>
              <a:ext uri="{FF2B5EF4-FFF2-40B4-BE49-F238E27FC236}">
                <a16:creationId xmlns:a16="http://schemas.microsoft.com/office/drawing/2014/main" id="{333F5CCB-D528-DC5D-3C39-DA24B1EEDBE5}"/>
              </a:ext>
            </a:extLst>
          </p:cNvPr>
          <p:cNvSpPr>
            <a:spLocks noGrp="1"/>
          </p:cNvSpPr>
          <p:nvPr>
            <p:ph type="body" sz="quarter" idx="16"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16" name="Text Placeholder 2">
            <a:extLst>
              <a:ext uri="{FF2B5EF4-FFF2-40B4-BE49-F238E27FC236}">
                <a16:creationId xmlns:a16="http://schemas.microsoft.com/office/drawing/2014/main" id="{7E768206-1DED-6AFD-987D-94716962304E}"/>
              </a:ext>
            </a:extLst>
          </p:cNvPr>
          <p:cNvSpPr>
            <a:spLocks noGrp="1"/>
          </p:cNvSpPr>
          <p:nvPr>
            <p:ph idx="1"/>
          </p:nvPr>
        </p:nvSpPr>
        <p:spPr>
          <a:xfrm>
            <a:off x="582837" y="1388918"/>
            <a:ext cx="9519664" cy="5357250"/>
          </a:xfrm>
          <a:prstGeom prst="rect">
            <a:avLst/>
          </a:prstGeom>
        </p:spPr>
        <p:txBody>
          <a:bodyPr vert="horz" lIns="0" tIns="45713" rIns="0" bIns="45713" rtlCol="0">
            <a:noAutofit/>
          </a:bodyPr>
          <a:lstStyle>
            <a:lvl1pPr rtl="0">
              <a:defRPr/>
            </a:lvl1pPr>
            <a:lvl2pPr rtl="0">
              <a:defRPr/>
            </a:lvl2pPr>
            <a:lvl3pPr rtl="0">
              <a:defRPr/>
            </a:lvl3pPr>
            <a:lvl4pPr rtl="0">
              <a:defRPr/>
            </a:lvl4pPr>
            <a:lvl5pPr rtl="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94230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line title and content with ta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188925839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9" name="Rectangle 8">
            <a:extLst>
              <a:ext uri="{FF2B5EF4-FFF2-40B4-BE49-F238E27FC236}">
                <a16:creationId xmlns:a16="http://schemas.microsoft.com/office/drawing/2014/main" id="{C11D1A07-349A-4225-BA90-6E4C59011FE0}"/>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11" name="Text Placeholder 2">
            <a:extLst>
              <a:ext uri="{FF2B5EF4-FFF2-40B4-BE49-F238E27FC236}">
                <a16:creationId xmlns:a16="http://schemas.microsoft.com/office/drawing/2014/main" id="{21D72BB3-85CB-454E-983E-FF192321899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 Placeholder 2">
            <a:extLst>
              <a:ext uri="{FF2B5EF4-FFF2-40B4-BE49-F238E27FC236}">
                <a16:creationId xmlns:a16="http://schemas.microsoft.com/office/drawing/2014/main" id="{CB4DDA30-6538-CB18-863F-139C8133F3DB}"/>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13" name="Title 1">
            <a:extLst>
              <a:ext uri="{FF2B5EF4-FFF2-40B4-BE49-F238E27FC236}">
                <a16:creationId xmlns:a16="http://schemas.microsoft.com/office/drawing/2014/main" id="{94BC968D-218E-755D-B5E8-C60CBABE9044}"/>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1 line)</a:t>
            </a:r>
          </a:p>
        </p:txBody>
      </p:sp>
      <p:sp>
        <p:nvSpPr>
          <p:cNvPr id="14" name="TextBox 13">
            <a:extLst>
              <a:ext uri="{FF2B5EF4-FFF2-40B4-BE49-F238E27FC236}">
                <a16:creationId xmlns:a16="http://schemas.microsoft.com/office/drawing/2014/main" id="{B2093399-32EB-2D73-68CF-19D5DC6DB50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A2C706FC-27CA-96E0-F6F2-17C82387B9AE}"/>
              </a:ext>
            </a:extLst>
          </p:cNvPr>
          <p:cNvSpPr>
            <a:spLocks noGrp="1"/>
          </p:cNvSpPr>
          <p:nvPr>
            <p:ph type="body" sz="quarter" idx="33"/>
          </p:nvPr>
        </p:nvSpPr>
        <p:spPr>
          <a:xfrm>
            <a:off x="582566" y="1070954"/>
            <a:ext cx="9811083" cy="571525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32990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line title and content with tab_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8901707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F6D217C-06F9-4DA1-8EBB-ABA72921A348}"/>
              </a:ext>
            </a:extLst>
          </p:cNvPr>
          <p:cNvSpPr/>
          <p:nvPr userDrawn="1"/>
        </p:nvSpPr>
        <p:spPr>
          <a:xfrm>
            <a:off x="1" y="932559"/>
            <a:ext cx="10691813" cy="603186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9" name="Rectangle 8">
            <a:extLst>
              <a:ext uri="{FF2B5EF4-FFF2-40B4-BE49-F238E27FC236}">
                <a16:creationId xmlns:a16="http://schemas.microsoft.com/office/drawing/2014/main" id="{C11D1A07-349A-4225-BA90-6E4C59011FE0}"/>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11" name="Text Placeholder 2">
            <a:extLst>
              <a:ext uri="{FF2B5EF4-FFF2-40B4-BE49-F238E27FC236}">
                <a16:creationId xmlns:a16="http://schemas.microsoft.com/office/drawing/2014/main" id="{21D72BB3-85CB-454E-983E-FF192321899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 Placeholder 2">
            <a:extLst>
              <a:ext uri="{FF2B5EF4-FFF2-40B4-BE49-F238E27FC236}">
                <a16:creationId xmlns:a16="http://schemas.microsoft.com/office/drawing/2014/main" id="{CB4DDA30-6538-CB18-863F-139C8133F3DB}"/>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13" name="Title 1">
            <a:extLst>
              <a:ext uri="{FF2B5EF4-FFF2-40B4-BE49-F238E27FC236}">
                <a16:creationId xmlns:a16="http://schemas.microsoft.com/office/drawing/2014/main" id="{94BC968D-218E-755D-B5E8-C60CBABE9044}"/>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1 line)</a:t>
            </a:r>
          </a:p>
        </p:txBody>
      </p:sp>
      <p:sp>
        <p:nvSpPr>
          <p:cNvPr id="14" name="TextBox 13">
            <a:extLst>
              <a:ext uri="{FF2B5EF4-FFF2-40B4-BE49-F238E27FC236}">
                <a16:creationId xmlns:a16="http://schemas.microsoft.com/office/drawing/2014/main" id="{B2093399-32EB-2D73-68CF-19D5DC6DB50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4">
            <a:extLst>
              <a:ext uri="{FF2B5EF4-FFF2-40B4-BE49-F238E27FC236}">
                <a16:creationId xmlns:a16="http://schemas.microsoft.com/office/drawing/2014/main" id="{3FD8CE2D-6258-6B34-B121-B8BF94A59C59}"/>
              </a:ext>
            </a:extLst>
          </p:cNvPr>
          <p:cNvSpPr>
            <a:spLocks noGrp="1"/>
          </p:cNvSpPr>
          <p:nvPr>
            <p:ph type="body" sz="quarter" idx="33"/>
          </p:nvPr>
        </p:nvSpPr>
        <p:spPr>
          <a:xfrm>
            <a:off x="582566" y="1070954"/>
            <a:ext cx="9811083" cy="571525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246729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line title and content with tab_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64032767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FE04A6C-6F65-D136-3AB1-620A8EF92FF6}"/>
              </a:ext>
            </a:extLst>
          </p:cNvPr>
          <p:cNvSpPr/>
          <p:nvPr userDrawn="1"/>
        </p:nvSpPr>
        <p:spPr>
          <a:xfrm>
            <a:off x="369131" y="932559"/>
            <a:ext cx="10323979" cy="60318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9" name="Rectangle 8">
            <a:extLst>
              <a:ext uri="{FF2B5EF4-FFF2-40B4-BE49-F238E27FC236}">
                <a16:creationId xmlns:a16="http://schemas.microsoft.com/office/drawing/2014/main" id="{C11D1A07-349A-4225-BA90-6E4C59011FE0}"/>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11" name="Text Placeholder 2">
            <a:extLst>
              <a:ext uri="{FF2B5EF4-FFF2-40B4-BE49-F238E27FC236}">
                <a16:creationId xmlns:a16="http://schemas.microsoft.com/office/drawing/2014/main" id="{21D72BB3-85CB-454E-983E-FF192321899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 Placeholder 2">
            <a:extLst>
              <a:ext uri="{FF2B5EF4-FFF2-40B4-BE49-F238E27FC236}">
                <a16:creationId xmlns:a16="http://schemas.microsoft.com/office/drawing/2014/main" id="{CB4DDA30-6538-CB18-863F-139C8133F3DB}"/>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13" name="Title 1">
            <a:extLst>
              <a:ext uri="{FF2B5EF4-FFF2-40B4-BE49-F238E27FC236}">
                <a16:creationId xmlns:a16="http://schemas.microsoft.com/office/drawing/2014/main" id="{94BC968D-218E-755D-B5E8-C60CBABE9044}"/>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1 line)</a:t>
            </a:r>
          </a:p>
        </p:txBody>
      </p:sp>
      <p:sp>
        <p:nvSpPr>
          <p:cNvPr id="14" name="TextBox 13">
            <a:extLst>
              <a:ext uri="{FF2B5EF4-FFF2-40B4-BE49-F238E27FC236}">
                <a16:creationId xmlns:a16="http://schemas.microsoft.com/office/drawing/2014/main" id="{B2093399-32EB-2D73-68CF-19D5DC6DB50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91F6A037-180A-FBC0-50F1-B8C879971EBD}"/>
              </a:ext>
            </a:extLst>
          </p:cNvPr>
          <p:cNvSpPr>
            <a:spLocks noGrp="1"/>
          </p:cNvSpPr>
          <p:nvPr>
            <p:ph type="body" sz="quarter" idx="33"/>
          </p:nvPr>
        </p:nvSpPr>
        <p:spPr>
          <a:xfrm>
            <a:off x="582566" y="1070954"/>
            <a:ext cx="9811083" cy="5715255"/>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23817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line title and content with ta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419177262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ext Placeholder 2"/>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8" name="Rectangle 7">
            <a:extLst>
              <a:ext uri="{FF2B5EF4-FFF2-40B4-BE49-F238E27FC236}">
                <a16:creationId xmlns:a16="http://schemas.microsoft.com/office/drawing/2014/main" id="{AF10A0AB-FF9B-47C3-BE83-E0DB591FDAE3}"/>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9" name="Text Placeholder 2">
            <a:extLst>
              <a:ext uri="{FF2B5EF4-FFF2-40B4-BE49-F238E27FC236}">
                <a16:creationId xmlns:a16="http://schemas.microsoft.com/office/drawing/2014/main" id="{FAA060C3-E7DE-42A8-8524-8D3F90DCA4F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Box 3">
            <a:extLst>
              <a:ext uri="{FF2B5EF4-FFF2-40B4-BE49-F238E27FC236}">
                <a16:creationId xmlns:a16="http://schemas.microsoft.com/office/drawing/2014/main" id="{D8DD1026-E5FA-88CF-4660-D53B005F19B9}"/>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6E800431-95E4-07FA-931E-D6FB10185A6F}"/>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14" name="Text Placeholder 4">
            <a:extLst>
              <a:ext uri="{FF2B5EF4-FFF2-40B4-BE49-F238E27FC236}">
                <a16:creationId xmlns:a16="http://schemas.microsoft.com/office/drawing/2014/main" id="{AF3855CB-8814-8553-83AA-174BEB025C2B}"/>
              </a:ext>
            </a:extLst>
          </p:cNvPr>
          <p:cNvSpPr>
            <a:spLocks noGrp="1"/>
          </p:cNvSpPr>
          <p:nvPr>
            <p:ph type="body" sz="quarter" idx="33"/>
          </p:nvPr>
        </p:nvSpPr>
        <p:spPr>
          <a:xfrm>
            <a:off x="582566" y="1388918"/>
            <a:ext cx="9811083" cy="535725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88469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line title and content with tab_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711334986"/>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F6D217C-06F9-4DA1-8EBB-ABA72921A348}"/>
              </a:ext>
            </a:extLst>
          </p:cNvPr>
          <p:cNvSpPr/>
          <p:nvPr userDrawn="1"/>
        </p:nvSpPr>
        <p:spPr>
          <a:xfrm>
            <a:off x="1" y="1239823"/>
            <a:ext cx="10691813" cy="57246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9" name="Rectangle 8">
            <a:extLst>
              <a:ext uri="{FF2B5EF4-FFF2-40B4-BE49-F238E27FC236}">
                <a16:creationId xmlns:a16="http://schemas.microsoft.com/office/drawing/2014/main" id="{C11D1A07-349A-4225-BA90-6E4C59011FE0}"/>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11" name="Text Placeholder 2">
            <a:extLst>
              <a:ext uri="{FF2B5EF4-FFF2-40B4-BE49-F238E27FC236}">
                <a16:creationId xmlns:a16="http://schemas.microsoft.com/office/drawing/2014/main" id="{21D72BB3-85CB-454E-983E-FF192321899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 Placeholder 2">
            <a:extLst>
              <a:ext uri="{FF2B5EF4-FFF2-40B4-BE49-F238E27FC236}">
                <a16:creationId xmlns:a16="http://schemas.microsoft.com/office/drawing/2014/main" id="{CB4DDA30-6538-CB18-863F-139C8133F3DB}"/>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13" name="Title 1">
            <a:extLst>
              <a:ext uri="{FF2B5EF4-FFF2-40B4-BE49-F238E27FC236}">
                <a16:creationId xmlns:a16="http://schemas.microsoft.com/office/drawing/2014/main" id="{94BC968D-218E-755D-B5E8-C60CBABE9044}"/>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14" name="TextBox 13">
            <a:extLst>
              <a:ext uri="{FF2B5EF4-FFF2-40B4-BE49-F238E27FC236}">
                <a16:creationId xmlns:a16="http://schemas.microsoft.com/office/drawing/2014/main" id="{B2093399-32EB-2D73-68CF-19D5DC6DB50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Text Placeholder 4">
            <a:extLst>
              <a:ext uri="{FF2B5EF4-FFF2-40B4-BE49-F238E27FC236}">
                <a16:creationId xmlns:a16="http://schemas.microsoft.com/office/drawing/2014/main" id="{9EED9822-9B60-9CDE-AC59-1C63D7166C55}"/>
              </a:ext>
            </a:extLst>
          </p:cNvPr>
          <p:cNvSpPr>
            <a:spLocks noGrp="1"/>
          </p:cNvSpPr>
          <p:nvPr>
            <p:ph type="body" sz="quarter" idx="33"/>
          </p:nvPr>
        </p:nvSpPr>
        <p:spPr>
          <a:xfrm>
            <a:off x="582566" y="1388918"/>
            <a:ext cx="9811083" cy="535725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141813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hoto Cover Short Tit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AF9E1B0-1813-48F2-7A23-3370B5E0AB3A}"/>
              </a:ext>
            </a:extLst>
          </p:cNvPr>
          <p:cNvGraphicFramePr>
            <a:graphicFrameLocks noChangeAspect="1"/>
          </p:cNvGraphicFramePr>
          <p:nvPr userDrawn="1">
            <p:custDataLst>
              <p:tags r:id="rId1"/>
            </p:custDataLst>
            <p:extLst>
              <p:ext uri="{D42A27DB-BD31-4B8C-83A1-F6EECF244321}">
                <p14:modId xmlns:p14="http://schemas.microsoft.com/office/powerpoint/2010/main" val="756395307"/>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CAF9E1B0-1813-48F2-7A23-3370B5E0AB3A}"/>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1" name="Picture Placeholder 3">
            <a:extLst>
              <a:ext uri="{FF2B5EF4-FFF2-40B4-BE49-F238E27FC236}">
                <a16:creationId xmlns:a16="http://schemas.microsoft.com/office/drawing/2014/main" id="{5C856426-D492-4CB4-99A5-8AD671A229C0}"/>
              </a:ext>
            </a:extLst>
          </p:cNvPr>
          <p:cNvSpPr>
            <a:spLocks noGrp="1"/>
          </p:cNvSpPr>
          <p:nvPr>
            <p:ph type="pic" sz="quarter" idx="12"/>
          </p:nvPr>
        </p:nvSpPr>
        <p:spPr>
          <a:xfrm>
            <a:off x="3" y="119050"/>
            <a:ext cx="10691813" cy="6349333"/>
          </a:xfrm>
        </p:spPr>
        <p:txBody>
          <a:bodyPr/>
          <a:lstStyle>
            <a:lvl1pPr rtl="0">
              <a:defRPr/>
            </a:lvl1pPr>
          </a:lstStyle>
          <a:p>
            <a:r>
              <a:rPr lang="en-US" noProof="0"/>
              <a:t>Click icon to add picture</a:t>
            </a:r>
            <a:endParaRPr lang="en-AU" noProof="0"/>
          </a:p>
        </p:txBody>
      </p:sp>
      <p:sp>
        <p:nvSpPr>
          <p:cNvPr id="10" name="Rectangle 9"/>
          <p:cNvSpPr/>
          <p:nvPr userDrawn="1"/>
        </p:nvSpPr>
        <p:spPr>
          <a:xfrm>
            <a:off x="2" y="6479480"/>
            <a:ext cx="10693108" cy="1081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2" name="Picture 11" descr="A picture containing drawing&#10;&#10;Description automatically generated">
            <a:extLst>
              <a:ext uri="{FF2B5EF4-FFF2-40B4-BE49-F238E27FC236}">
                <a16:creationId xmlns:a16="http://schemas.microsoft.com/office/drawing/2014/main" id="{9C37872E-03F3-46BF-8359-B9ED1D13B87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313041" y="6881562"/>
            <a:ext cx="1022172" cy="284900"/>
          </a:xfrm>
          <a:prstGeom prst="rect">
            <a:avLst/>
          </a:prstGeom>
        </p:spPr>
      </p:pic>
      <p:sp>
        <p:nvSpPr>
          <p:cNvPr id="13" name="Text Placeholder 14">
            <a:extLst>
              <a:ext uri="{FF2B5EF4-FFF2-40B4-BE49-F238E27FC236}">
                <a16:creationId xmlns:a16="http://schemas.microsoft.com/office/drawing/2014/main" id="{50D08F5B-4759-4C3A-8AB0-F2A688EBD865}"/>
              </a:ext>
            </a:extLst>
          </p:cNvPr>
          <p:cNvSpPr>
            <a:spLocks noGrp="1"/>
          </p:cNvSpPr>
          <p:nvPr>
            <p:ph type="body" sz="quarter" idx="13" hasCustomPrompt="1"/>
          </p:nvPr>
        </p:nvSpPr>
        <p:spPr>
          <a:xfrm>
            <a:off x="-1" y="4736168"/>
            <a:ext cx="8159712" cy="1123051"/>
          </a:xfrm>
          <a:solidFill>
            <a:schemeClr val="bg2">
              <a:alpha val="90000"/>
            </a:schemeClr>
          </a:solidFill>
        </p:spPr>
        <p:txBody>
          <a:bodyPr wrap="square" lIns="540000" tIns="108000" rIns="576000" bIns="504000" anchor="b" anchorCtr="0">
            <a:spAutoFit/>
          </a:bodyPr>
          <a:lstStyle>
            <a:lvl1pPr rtl="0">
              <a:lnSpc>
                <a:spcPct val="100000"/>
              </a:lnSpc>
              <a:defRPr sz="3282">
                <a:solidFill>
                  <a:schemeClr val="bg1"/>
                </a:solidFill>
                <a:latin typeface="Segoe UI Semibold" panose="020B0702040204020203" pitchFamily="34" charset="0"/>
              </a:defRPr>
            </a:lvl1pPr>
          </a:lstStyle>
          <a:p>
            <a:pPr lvl="0"/>
            <a:r>
              <a:rPr lang="en-AU" noProof="0"/>
              <a:t>Short title</a:t>
            </a:r>
          </a:p>
        </p:txBody>
      </p:sp>
      <p:sp>
        <p:nvSpPr>
          <p:cNvPr id="14" name="Text Placeholder 14">
            <a:extLst>
              <a:ext uri="{FF2B5EF4-FFF2-40B4-BE49-F238E27FC236}">
                <a16:creationId xmlns:a16="http://schemas.microsoft.com/office/drawing/2014/main" id="{28166892-113E-4466-9C65-9A5A872E9784}"/>
              </a:ext>
            </a:extLst>
          </p:cNvPr>
          <p:cNvSpPr>
            <a:spLocks noGrp="1"/>
          </p:cNvSpPr>
          <p:nvPr>
            <p:ph type="body" sz="quarter" idx="14" hasCustomPrompt="1"/>
          </p:nvPr>
        </p:nvSpPr>
        <p:spPr>
          <a:xfrm>
            <a:off x="582839" y="5357251"/>
            <a:ext cx="6783794" cy="344824"/>
          </a:xfrm>
        </p:spPr>
        <p:txBody>
          <a:bodyPr wrap="square">
            <a:spAutoFit/>
          </a:bodyPr>
          <a:lstStyle>
            <a:lvl1pPr rtl="0">
              <a:defRPr sz="1641" baseline="0">
                <a:solidFill>
                  <a:schemeClr val="bg1"/>
                </a:solidFill>
                <a:latin typeface="Segoe UI Light" panose="020B0502040204020203" pitchFamily="34" charset="0"/>
              </a:defRPr>
            </a:lvl1pPr>
          </a:lstStyle>
          <a:p>
            <a:pPr lvl="0"/>
            <a:r>
              <a:rPr lang="en-AU" noProof="0"/>
              <a:t>Sub title</a:t>
            </a:r>
          </a:p>
        </p:txBody>
      </p:sp>
      <p:pic>
        <p:nvPicPr>
          <p:cNvPr id="15" name="Picture 14">
            <a:extLst>
              <a:ext uri="{FF2B5EF4-FFF2-40B4-BE49-F238E27FC236}">
                <a16:creationId xmlns:a16="http://schemas.microsoft.com/office/drawing/2014/main" id="{0CD09ABA-40BD-41E7-B827-2B0A23CA7E21}"/>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Tree>
    <p:extLst>
      <p:ext uri="{BB962C8B-B14F-4D97-AF65-F5344CB8AC3E}">
        <p14:creationId xmlns:p14="http://schemas.microsoft.com/office/powerpoint/2010/main" val="4183037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line title and content with tab_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596051494"/>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F6D217C-06F9-4DA1-8EBB-ABA72921A348}"/>
              </a:ext>
            </a:extLst>
          </p:cNvPr>
          <p:cNvSpPr/>
          <p:nvPr userDrawn="1"/>
        </p:nvSpPr>
        <p:spPr>
          <a:xfrm>
            <a:off x="369131" y="1239823"/>
            <a:ext cx="10323979" cy="57246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9" name="Rectangle 8">
            <a:extLst>
              <a:ext uri="{FF2B5EF4-FFF2-40B4-BE49-F238E27FC236}">
                <a16:creationId xmlns:a16="http://schemas.microsoft.com/office/drawing/2014/main" id="{C11D1A07-349A-4225-BA90-6E4C59011FE0}"/>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11" name="Text Placeholder 2">
            <a:extLst>
              <a:ext uri="{FF2B5EF4-FFF2-40B4-BE49-F238E27FC236}">
                <a16:creationId xmlns:a16="http://schemas.microsoft.com/office/drawing/2014/main" id="{21D72BB3-85CB-454E-983E-FF192321899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 Placeholder 2">
            <a:extLst>
              <a:ext uri="{FF2B5EF4-FFF2-40B4-BE49-F238E27FC236}">
                <a16:creationId xmlns:a16="http://schemas.microsoft.com/office/drawing/2014/main" id="{CB4DDA30-6538-CB18-863F-139C8133F3DB}"/>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13" name="Title 1">
            <a:extLst>
              <a:ext uri="{FF2B5EF4-FFF2-40B4-BE49-F238E27FC236}">
                <a16:creationId xmlns:a16="http://schemas.microsoft.com/office/drawing/2014/main" id="{94BC968D-218E-755D-B5E8-C60CBABE9044}"/>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14" name="TextBox 13">
            <a:extLst>
              <a:ext uri="{FF2B5EF4-FFF2-40B4-BE49-F238E27FC236}">
                <a16:creationId xmlns:a16="http://schemas.microsoft.com/office/drawing/2014/main" id="{B2093399-32EB-2D73-68CF-19D5DC6DB50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4">
            <a:extLst>
              <a:ext uri="{FF2B5EF4-FFF2-40B4-BE49-F238E27FC236}">
                <a16:creationId xmlns:a16="http://schemas.microsoft.com/office/drawing/2014/main" id="{0D8E99B2-C9C3-DD34-AD64-B6DF932F3CEE}"/>
              </a:ext>
            </a:extLst>
          </p:cNvPr>
          <p:cNvSpPr>
            <a:spLocks noGrp="1"/>
          </p:cNvSpPr>
          <p:nvPr>
            <p:ph type="body" sz="quarter" idx="33"/>
          </p:nvPr>
        </p:nvSpPr>
        <p:spPr>
          <a:xfrm>
            <a:off x="582566" y="1388918"/>
            <a:ext cx="9811083" cy="535725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2077700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line title, intro and content with ta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1027071692"/>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ext Placeholder 2"/>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8" name="Rectangle 7">
            <a:extLst>
              <a:ext uri="{FF2B5EF4-FFF2-40B4-BE49-F238E27FC236}">
                <a16:creationId xmlns:a16="http://schemas.microsoft.com/office/drawing/2014/main" id="{AF10A0AB-FF9B-47C3-BE83-E0DB591FDAE3}"/>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9" name="Text Placeholder 2">
            <a:extLst>
              <a:ext uri="{FF2B5EF4-FFF2-40B4-BE49-F238E27FC236}">
                <a16:creationId xmlns:a16="http://schemas.microsoft.com/office/drawing/2014/main" id="{FAA060C3-E7DE-42A8-8524-8D3F90DCA4F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Box 3">
            <a:extLst>
              <a:ext uri="{FF2B5EF4-FFF2-40B4-BE49-F238E27FC236}">
                <a16:creationId xmlns:a16="http://schemas.microsoft.com/office/drawing/2014/main" id="{D8DD1026-E5FA-88CF-4660-D53B005F19B9}"/>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6E800431-95E4-07FA-931E-D6FB10185A6F}"/>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1 line)</a:t>
            </a:r>
          </a:p>
        </p:txBody>
      </p:sp>
      <p:sp>
        <p:nvSpPr>
          <p:cNvPr id="5" name="Text Placeholder 5">
            <a:extLst>
              <a:ext uri="{FF2B5EF4-FFF2-40B4-BE49-F238E27FC236}">
                <a16:creationId xmlns:a16="http://schemas.microsoft.com/office/drawing/2014/main" id="{3F10C9A4-5EA4-AA5F-FCA1-09319C1EF7AF}"/>
              </a:ext>
            </a:extLst>
          </p:cNvPr>
          <p:cNvSpPr>
            <a:spLocks noGrp="1"/>
          </p:cNvSpPr>
          <p:nvPr>
            <p:ph type="body" sz="quarter" idx="14" hasCustomPrompt="1"/>
          </p:nvPr>
        </p:nvSpPr>
        <p:spPr>
          <a:xfrm>
            <a:off x="582836" y="912717"/>
            <a:ext cx="9811083" cy="476200"/>
          </a:xfrm>
        </p:spPr>
        <p:txBody>
          <a:bodyPr/>
          <a:lstStyle>
            <a:lvl1pPr rtl="0">
              <a:defRPr sz="1127">
                <a:solidFill>
                  <a:schemeClr val="bg2"/>
                </a:solidFill>
              </a:defRPr>
            </a:lvl1pPr>
          </a:lstStyle>
          <a:p>
            <a:pPr lvl="0"/>
            <a:r>
              <a:rPr lang="en-AU" noProof="0"/>
              <a:t>Sub heading (2 lines max)</a:t>
            </a:r>
          </a:p>
        </p:txBody>
      </p:sp>
      <p:sp>
        <p:nvSpPr>
          <p:cNvPr id="11" name="Text Placeholder 4">
            <a:extLst>
              <a:ext uri="{FF2B5EF4-FFF2-40B4-BE49-F238E27FC236}">
                <a16:creationId xmlns:a16="http://schemas.microsoft.com/office/drawing/2014/main" id="{E7D3BEA1-BEAD-EA06-6CA9-3B258B7C73E2}"/>
              </a:ext>
            </a:extLst>
          </p:cNvPr>
          <p:cNvSpPr>
            <a:spLocks noGrp="1"/>
          </p:cNvSpPr>
          <p:nvPr>
            <p:ph type="body" sz="quarter" idx="33"/>
          </p:nvPr>
        </p:nvSpPr>
        <p:spPr>
          <a:xfrm>
            <a:off x="582566" y="1627017"/>
            <a:ext cx="9811083" cy="5119151"/>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758100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line title, intro and content with tab_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1682837094"/>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CF23843-6438-5A7C-D79B-CDB487A05414}"/>
              </a:ext>
            </a:extLst>
          </p:cNvPr>
          <p:cNvSpPr/>
          <p:nvPr userDrawn="1"/>
        </p:nvSpPr>
        <p:spPr>
          <a:xfrm>
            <a:off x="1" y="1468283"/>
            <a:ext cx="10691813" cy="54921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ext Placeholder 2"/>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8" name="Rectangle 7">
            <a:extLst>
              <a:ext uri="{FF2B5EF4-FFF2-40B4-BE49-F238E27FC236}">
                <a16:creationId xmlns:a16="http://schemas.microsoft.com/office/drawing/2014/main" id="{AF10A0AB-FF9B-47C3-BE83-E0DB591FDAE3}"/>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9" name="Text Placeholder 2">
            <a:extLst>
              <a:ext uri="{FF2B5EF4-FFF2-40B4-BE49-F238E27FC236}">
                <a16:creationId xmlns:a16="http://schemas.microsoft.com/office/drawing/2014/main" id="{FAA060C3-E7DE-42A8-8524-8D3F90DCA4F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Box 3">
            <a:extLst>
              <a:ext uri="{FF2B5EF4-FFF2-40B4-BE49-F238E27FC236}">
                <a16:creationId xmlns:a16="http://schemas.microsoft.com/office/drawing/2014/main" id="{D8DD1026-E5FA-88CF-4660-D53B005F19B9}"/>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6E800431-95E4-07FA-931E-D6FB10185A6F}"/>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1 line)</a:t>
            </a:r>
          </a:p>
        </p:txBody>
      </p:sp>
      <p:sp>
        <p:nvSpPr>
          <p:cNvPr id="5" name="Text Placeholder 5">
            <a:extLst>
              <a:ext uri="{FF2B5EF4-FFF2-40B4-BE49-F238E27FC236}">
                <a16:creationId xmlns:a16="http://schemas.microsoft.com/office/drawing/2014/main" id="{3F10C9A4-5EA4-AA5F-FCA1-09319C1EF7AF}"/>
              </a:ext>
            </a:extLst>
          </p:cNvPr>
          <p:cNvSpPr>
            <a:spLocks noGrp="1"/>
          </p:cNvSpPr>
          <p:nvPr>
            <p:ph type="body" sz="quarter" idx="14" hasCustomPrompt="1"/>
          </p:nvPr>
        </p:nvSpPr>
        <p:spPr>
          <a:xfrm>
            <a:off x="582836" y="912717"/>
            <a:ext cx="9811083" cy="476200"/>
          </a:xfrm>
        </p:spPr>
        <p:txBody>
          <a:bodyPr/>
          <a:lstStyle>
            <a:lvl1pPr rtl="0">
              <a:defRPr sz="1127">
                <a:solidFill>
                  <a:schemeClr val="bg2"/>
                </a:solidFill>
              </a:defRPr>
            </a:lvl1pPr>
          </a:lstStyle>
          <a:p>
            <a:pPr lvl="0"/>
            <a:r>
              <a:rPr lang="en-AU" noProof="0"/>
              <a:t>Sub heading (2 lines max)</a:t>
            </a:r>
          </a:p>
        </p:txBody>
      </p:sp>
      <p:sp>
        <p:nvSpPr>
          <p:cNvPr id="15" name="Text Placeholder 4">
            <a:extLst>
              <a:ext uri="{FF2B5EF4-FFF2-40B4-BE49-F238E27FC236}">
                <a16:creationId xmlns:a16="http://schemas.microsoft.com/office/drawing/2014/main" id="{FA692187-3A93-2994-3266-413FBB5A64F4}"/>
              </a:ext>
            </a:extLst>
          </p:cNvPr>
          <p:cNvSpPr>
            <a:spLocks noGrp="1"/>
          </p:cNvSpPr>
          <p:nvPr>
            <p:ph type="body" sz="quarter" idx="33"/>
          </p:nvPr>
        </p:nvSpPr>
        <p:spPr>
          <a:xfrm>
            <a:off x="582566" y="1627017"/>
            <a:ext cx="9811083" cy="5119151"/>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914641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line title, intro and content with tab_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3500327689"/>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CF23843-6438-5A7C-D79B-CDB487A05414}"/>
              </a:ext>
            </a:extLst>
          </p:cNvPr>
          <p:cNvSpPr/>
          <p:nvPr userDrawn="1"/>
        </p:nvSpPr>
        <p:spPr>
          <a:xfrm>
            <a:off x="369131" y="1468283"/>
            <a:ext cx="10323979" cy="54921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ext Placeholder 2"/>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8" name="Rectangle 7">
            <a:extLst>
              <a:ext uri="{FF2B5EF4-FFF2-40B4-BE49-F238E27FC236}">
                <a16:creationId xmlns:a16="http://schemas.microsoft.com/office/drawing/2014/main" id="{AF10A0AB-FF9B-47C3-BE83-E0DB591FDAE3}"/>
              </a:ext>
            </a:extLst>
          </p:cNvPr>
          <p:cNvSpPr/>
          <p:nvPr userDrawn="1"/>
        </p:nvSpPr>
        <p:spPr>
          <a:xfrm>
            <a:off x="1" y="120929"/>
            <a:ext cx="349703" cy="7442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231">
              <a:solidFill>
                <a:schemeClr val="bg2"/>
              </a:solidFill>
            </a:endParaRPr>
          </a:p>
        </p:txBody>
      </p:sp>
      <p:sp>
        <p:nvSpPr>
          <p:cNvPr id="9" name="Text Placeholder 2">
            <a:extLst>
              <a:ext uri="{FF2B5EF4-FFF2-40B4-BE49-F238E27FC236}">
                <a16:creationId xmlns:a16="http://schemas.microsoft.com/office/drawing/2014/main" id="{FAA060C3-E7DE-42A8-8524-8D3F90DCA4F8}"/>
              </a:ext>
            </a:extLst>
          </p:cNvPr>
          <p:cNvSpPr>
            <a:spLocks noGrp="1"/>
          </p:cNvSpPr>
          <p:nvPr>
            <p:ph type="body" sz="quarter" idx="32" hasCustomPrompt="1"/>
          </p:nvPr>
        </p:nvSpPr>
        <p:spPr>
          <a:xfrm>
            <a:off x="1" y="555568"/>
            <a:ext cx="349703" cy="5049792"/>
          </a:xfrm>
          <a:prstGeom prst="rect">
            <a:avLst/>
          </a:prstGeom>
        </p:spPr>
        <p:txBody>
          <a:bodyPr vert="vert270" tIns="0" bIns="0" anchor="ctr"/>
          <a:lstStyle>
            <a:lvl1pPr algn="r" rtl="0">
              <a:defRPr sz="102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SECTION TITLE</a:t>
            </a:r>
          </a:p>
        </p:txBody>
      </p:sp>
      <p:sp>
        <p:nvSpPr>
          <p:cNvPr id="4" name="TextBox 3">
            <a:extLst>
              <a:ext uri="{FF2B5EF4-FFF2-40B4-BE49-F238E27FC236}">
                <a16:creationId xmlns:a16="http://schemas.microsoft.com/office/drawing/2014/main" id="{D8DD1026-E5FA-88CF-4660-D53B005F19B9}"/>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6E800431-95E4-07FA-931E-D6FB10185A6F}"/>
              </a:ext>
            </a:extLst>
          </p:cNvPr>
          <p:cNvSpPr>
            <a:spLocks noGrp="1"/>
          </p:cNvSpPr>
          <p:nvPr>
            <p:ph type="title" hasCustomPrompt="1"/>
          </p:nvPr>
        </p:nvSpPr>
        <p:spPr>
          <a:xfrm>
            <a:off x="582836" y="436518"/>
            <a:ext cx="981108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1 line)</a:t>
            </a:r>
          </a:p>
        </p:txBody>
      </p:sp>
      <p:sp>
        <p:nvSpPr>
          <p:cNvPr id="5" name="Text Placeholder 5">
            <a:extLst>
              <a:ext uri="{FF2B5EF4-FFF2-40B4-BE49-F238E27FC236}">
                <a16:creationId xmlns:a16="http://schemas.microsoft.com/office/drawing/2014/main" id="{3F10C9A4-5EA4-AA5F-FCA1-09319C1EF7AF}"/>
              </a:ext>
            </a:extLst>
          </p:cNvPr>
          <p:cNvSpPr>
            <a:spLocks noGrp="1"/>
          </p:cNvSpPr>
          <p:nvPr>
            <p:ph type="body" sz="quarter" idx="14" hasCustomPrompt="1"/>
          </p:nvPr>
        </p:nvSpPr>
        <p:spPr>
          <a:xfrm>
            <a:off x="582836" y="912717"/>
            <a:ext cx="9811083" cy="476200"/>
          </a:xfrm>
        </p:spPr>
        <p:txBody>
          <a:bodyPr/>
          <a:lstStyle>
            <a:lvl1pPr rtl="0">
              <a:defRPr sz="1127">
                <a:solidFill>
                  <a:schemeClr val="bg2"/>
                </a:solidFill>
              </a:defRPr>
            </a:lvl1pPr>
          </a:lstStyle>
          <a:p>
            <a:pPr lvl="0"/>
            <a:r>
              <a:rPr lang="en-AU" noProof="0"/>
              <a:t>Sub heading (2 lines max)</a:t>
            </a:r>
          </a:p>
        </p:txBody>
      </p:sp>
      <p:sp>
        <p:nvSpPr>
          <p:cNvPr id="12" name="Text Placeholder 4">
            <a:extLst>
              <a:ext uri="{FF2B5EF4-FFF2-40B4-BE49-F238E27FC236}">
                <a16:creationId xmlns:a16="http://schemas.microsoft.com/office/drawing/2014/main" id="{CC262324-8942-03AD-5AE7-8702FC6C79D4}"/>
              </a:ext>
            </a:extLst>
          </p:cNvPr>
          <p:cNvSpPr>
            <a:spLocks noGrp="1"/>
          </p:cNvSpPr>
          <p:nvPr>
            <p:ph type="body" sz="quarter" idx="33"/>
          </p:nvPr>
        </p:nvSpPr>
        <p:spPr>
          <a:xfrm>
            <a:off x="582566" y="1627017"/>
            <a:ext cx="9811083" cy="5119151"/>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5969750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with title_contents hea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BFA1D0-4F34-6378-5932-3BF4D982D49B}"/>
              </a:ext>
            </a:extLst>
          </p:cNvPr>
          <p:cNvGraphicFramePr>
            <a:graphicFrameLocks noChangeAspect="1"/>
          </p:cNvGraphicFramePr>
          <p:nvPr userDrawn="1">
            <p:custDataLst>
              <p:tags r:id="rId1"/>
            </p:custDataLst>
            <p:extLst>
              <p:ext uri="{D42A27DB-BD31-4B8C-83A1-F6EECF244321}">
                <p14:modId xmlns:p14="http://schemas.microsoft.com/office/powerpoint/2010/main" val="111911251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00BFA1D0-4F34-6378-5932-3BF4D982D49B}"/>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84280" y="1630797"/>
            <a:ext cx="9524965" cy="189411"/>
          </a:xfrm>
        </p:spPr>
        <p:txBody>
          <a:bodyPr vert="horz" lIns="0" tIns="0" rIns="0" bIns="0" rtlCol="0" anchor="t" anchorCtr="0">
            <a:spAutoFit/>
          </a:bodyPr>
          <a:lstStyle>
            <a:lvl1pPr rtl="0">
              <a:defRPr lang="en-AU" sz="1231" dirty="0">
                <a:solidFill>
                  <a:schemeClr val="bg2"/>
                </a:solidFill>
                <a:latin typeface="Segoe UI Semibold" panose="020B0702040204020203" pitchFamily="34" charset="0"/>
                <a:cs typeface="Segoe UI Semibold" panose="020B0702040204020203" pitchFamily="34" charset="0"/>
              </a:defRPr>
            </a:lvl1pPr>
          </a:lstStyle>
          <a:p>
            <a:pPr lvl="0"/>
            <a:r>
              <a:rPr lang="en-AU"/>
              <a:t>Content heading</a:t>
            </a:r>
          </a:p>
        </p:txBody>
      </p:sp>
      <p:sp>
        <p:nvSpPr>
          <p:cNvPr id="4" name="Text Placeholder 2">
            <a:extLst>
              <a:ext uri="{FF2B5EF4-FFF2-40B4-BE49-F238E27FC236}">
                <a16:creationId xmlns:a16="http://schemas.microsoft.com/office/drawing/2014/main" id="{167CDA18-61CF-0A26-772E-567C8B9A346E}"/>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7" name="Title 1">
            <a:extLst>
              <a:ext uri="{FF2B5EF4-FFF2-40B4-BE49-F238E27FC236}">
                <a16:creationId xmlns:a16="http://schemas.microsoft.com/office/drawing/2014/main" id="{A07A2A19-F29A-5EAC-DEBA-B290ED1AB696}"/>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8" name="TextBox 7">
            <a:extLst>
              <a:ext uri="{FF2B5EF4-FFF2-40B4-BE49-F238E27FC236}">
                <a16:creationId xmlns:a16="http://schemas.microsoft.com/office/drawing/2014/main" id="{FCCC4DA1-93FA-FF7E-9069-AF8C1CE67852}"/>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398300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A84267-8FC2-92E2-FED7-CF0083690B6C}"/>
              </a:ext>
            </a:extLst>
          </p:cNvPr>
          <p:cNvGraphicFramePr>
            <a:graphicFrameLocks noChangeAspect="1"/>
          </p:cNvGraphicFramePr>
          <p:nvPr userDrawn="1">
            <p:custDataLst>
              <p:tags r:id="rId1"/>
            </p:custDataLst>
            <p:extLst>
              <p:ext uri="{D42A27DB-BD31-4B8C-83A1-F6EECF244321}">
                <p14:modId xmlns:p14="http://schemas.microsoft.com/office/powerpoint/2010/main" val="3873115515"/>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67A84267-8FC2-92E2-FED7-CF0083690B6C}"/>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4A11142-24B9-3DF9-0F18-B766145500B5}"/>
              </a:ext>
            </a:extLst>
          </p:cNvPr>
          <p:cNvSpPr/>
          <p:nvPr userDrawn="1"/>
        </p:nvSpPr>
        <p:spPr>
          <a:xfrm>
            <a:off x="1" y="1468283"/>
            <a:ext cx="10691813" cy="54921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84281" y="1630798"/>
            <a:ext cx="9519664" cy="205121"/>
          </a:xfrm>
        </p:spPr>
        <p:txBody>
          <a:bodyPr vert="horz" lIns="0" tIns="0" rIns="0" bIns="0" rtlCol="0" anchor="t" anchorCtr="0">
            <a:spAutoFit/>
          </a:bodyPr>
          <a:lstStyle>
            <a:lvl1pPr rtl="0">
              <a:defRPr lang="en-AU" sz="1333" dirty="0">
                <a:solidFill>
                  <a:schemeClr val="bg2"/>
                </a:solidFill>
                <a:latin typeface="Segoe UI Semibold" panose="020B0702040204020203" pitchFamily="34" charset="0"/>
                <a:cs typeface="Segoe UI Semibold" panose="020B0702040204020203" pitchFamily="34" charset="0"/>
              </a:defRPr>
            </a:lvl1pPr>
          </a:lstStyle>
          <a:p>
            <a:pPr lvl="0"/>
            <a:r>
              <a:rPr lang="en-AU" noProof="0"/>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85755" y="2008578"/>
            <a:ext cx="9519664" cy="173445"/>
          </a:xfrm>
        </p:spPr>
        <p:txBody>
          <a:bodyPr vert="horz" lIns="0" tIns="0" rIns="0" bIns="0" rtlCol="0" anchor="t" anchorCtr="0">
            <a:spAutoFit/>
          </a:bodyPr>
          <a:lstStyle>
            <a:lvl1pPr rtl="0">
              <a:defRPr lang="en-AU" sz="1127" dirty="0">
                <a:solidFill>
                  <a:schemeClr val="bg2"/>
                </a:solidFill>
                <a:latin typeface="Segoe UI Semibold" panose="020B0702040204020203" pitchFamily="34" charset="0"/>
                <a:cs typeface="Segoe UI Semibold" panose="020B0702040204020203" pitchFamily="34" charset="0"/>
              </a:defRPr>
            </a:lvl1pPr>
          </a:lstStyle>
          <a:p>
            <a:pPr lvl="0"/>
            <a:r>
              <a:rPr lang="en-AU" noProof="0"/>
              <a:t>Units</a:t>
            </a:r>
          </a:p>
        </p:txBody>
      </p:sp>
      <p:sp>
        <p:nvSpPr>
          <p:cNvPr id="4" name="Text Placeholder 2">
            <a:extLst>
              <a:ext uri="{FF2B5EF4-FFF2-40B4-BE49-F238E27FC236}">
                <a16:creationId xmlns:a16="http://schemas.microsoft.com/office/drawing/2014/main" id="{A905DB6E-53DF-77CE-7661-02D90142DD61}"/>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9" name="Title 1">
            <a:extLst>
              <a:ext uri="{FF2B5EF4-FFF2-40B4-BE49-F238E27FC236}">
                <a16:creationId xmlns:a16="http://schemas.microsoft.com/office/drawing/2014/main" id="{F5FFA359-2CFF-2057-C76A-2C892E989561}"/>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11" name="TextBox 10">
            <a:extLst>
              <a:ext uri="{FF2B5EF4-FFF2-40B4-BE49-F238E27FC236}">
                <a16:creationId xmlns:a16="http://schemas.microsoft.com/office/drawing/2014/main" id="{3DFA2313-D3E5-342E-233F-812B90CA815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4">
            <a:extLst>
              <a:ext uri="{FF2B5EF4-FFF2-40B4-BE49-F238E27FC236}">
                <a16:creationId xmlns:a16="http://schemas.microsoft.com/office/drawing/2014/main" id="{F6B04450-AB3F-D1E7-BA2F-3D186A064091}"/>
              </a:ext>
            </a:extLst>
          </p:cNvPr>
          <p:cNvSpPr>
            <a:spLocks noGrp="1"/>
          </p:cNvSpPr>
          <p:nvPr>
            <p:ph type="body" sz="quarter" idx="33"/>
          </p:nvPr>
        </p:nvSpPr>
        <p:spPr>
          <a:xfrm>
            <a:off x="582567" y="2352431"/>
            <a:ext cx="9519664" cy="439373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705715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330A12-E26F-B307-4F37-418B9CC3D2D4}"/>
              </a:ext>
            </a:extLst>
          </p:cNvPr>
          <p:cNvGraphicFramePr>
            <a:graphicFrameLocks noChangeAspect="1"/>
          </p:cNvGraphicFramePr>
          <p:nvPr userDrawn="1">
            <p:custDataLst>
              <p:tags r:id="rId1"/>
            </p:custDataLst>
            <p:extLst>
              <p:ext uri="{D42A27DB-BD31-4B8C-83A1-F6EECF244321}">
                <p14:modId xmlns:p14="http://schemas.microsoft.com/office/powerpoint/2010/main" val="3099694169"/>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B8330A12-E26F-B307-4F37-418B9CC3D2D4}"/>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Tree>
    <p:extLst>
      <p:ext uri="{BB962C8B-B14F-4D97-AF65-F5344CB8AC3E}">
        <p14:creationId xmlns:p14="http://schemas.microsoft.com/office/powerpoint/2010/main" val="2298154746"/>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3367"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ag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4B3A76-F1E8-1B1E-0920-E7C7F7B9323D}"/>
              </a:ext>
            </a:extLst>
          </p:cNvPr>
          <p:cNvGraphicFramePr>
            <a:graphicFrameLocks noChangeAspect="1"/>
          </p:cNvGraphicFramePr>
          <p:nvPr userDrawn="1">
            <p:custDataLst>
              <p:tags r:id="rId1"/>
            </p:custDataLst>
            <p:extLst>
              <p:ext uri="{D42A27DB-BD31-4B8C-83A1-F6EECF244321}">
                <p14:modId xmlns:p14="http://schemas.microsoft.com/office/powerpoint/2010/main" val="261432925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154B3A76-F1E8-1B1E-0920-E7C7F7B9323D}"/>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29" name="Picture 28"/>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6" name="Text Placeholder 5"/>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3" name="Text Placeholder 2">
            <a:extLst>
              <a:ext uri="{FF2B5EF4-FFF2-40B4-BE49-F238E27FC236}">
                <a16:creationId xmlns:a16="http://schemas.microsoft.com/office/drawing/2014/main" id="{1E8AD1F4-BA08-BCF1-7C55-B3D13856F7AE}"/>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5" name="Title 1">
            <a:extLst>
              <a:ext uri="{FF2B5EF4-FFF2-40B4-BE49-F238E27FC236}">
                <a16:creationId xmlns:a16="http://schemas.microsoft.com/office/drawing/2014/main" id="{A5D6451D-D16E-8875-24DC-9D7865A874AB}"/>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Box 6">
            <a:extLst>
              <a:ext uri="{FF2B5EF4-FFF2-40B4-BE49-F238E27FC236}">
                <a16:creationId xmlns:a16="http://schemas.microsoft.com/office/drawing/2014/main" id="{3633E6F9-52B3-66D0-3E8A-4C978B609AAB}"/>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9D6099AF-3BE0-7421-6740-6783C18AF660}"/>
              </a:ext>
            </a:extLst>
          </p:cNvPr>
          <p:cNvSpPr>
            <a:spLocks noGrp="1"/>
          </p:cNvSpPr>
          <p:nvPr>
            <p:ph type="body" sz="quarter" idx="33"/>
          </p:nvPr>
        </p:nvSpPr>
        <p:spPr>
          <a:xfrm>
            <a:off x="582567" y="1666700"/>
            <a:ext cx="9519664" cy="507946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7060430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F86FBE-BFF3-65A7-7896-F97E6DAE0BCE}"/>
              </a:ext>
            </a:extLst>
          </p:cNvPr>
          <p:cNvGraphicFramePr>
            <a:graphicFrameLocks noChangeAspect="1"/>
          </p:cNvGraphicFramePr>
          <p:nvPr userDrawn="1">
            <p:custDataLst>
              <p:tags r:id="rId1"/>
            </p:custDataLst>
            <p:extLst>
              <p:ext uri="{D42A27DB-BD31-4B8C-83A1-F6EECF244321}">
                <p14:modId xmlns:p14="http://schemas.microsoft.com/office/powerpoint/2010/main" val="636727588"/>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1F86FBE-BFF3-65A7-7896-F97E6DAE0BCE}"/>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29" name="Picture 28"/>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ext Placeholder 2">
            <a:extLst>
              <a:ext uri="{FF2B5EF4-FFF2-40B4-BE49-F238E27FC236}">
                <a16:creationId xmlns:a16="http://schemas.microsoft.com/office/drawing/2014/main" id="{D5C41D8A-BD4E-5617-624C-E57B4D690B11}"/>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5" name="Title 1">
            <a:extLst>
              <a:ext uri="{FF2B5EF4-FFF2-40B4-BE49-F238E27FC236}">
                <a16:creationId xmlns:a16="http://schemas.microsoft.com/office/drawing/2014/main" id="{787E3230-B8B2-E1DE-78B5-F6BC70961D36}"/>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6" name="TextBox 5">
            <a:extLst>
              <a:ext uri="{FF2B5EF4-FFF2-40B4-BE49-F238E27FC236}">
                <a16:creationId xmlns:a16="http://schemas.microsoft.com/office/drawing/2014/main" id="{9C04F063-00AC-AEA4-4C47-2C1EC8A3375A}"/>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5EF14938-986C-9F42-F8EA-29B5C55EA92B}"/>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13" name="Text Placeholder 4">
            <a:extLst>
              <a:ext uri="{FF2B5EF4-FFF2-40B4-BE49-F238E27FC236}">
                <a16:creationId xmlns:a16="http://schemas.microsoft.com/office/drawing/2014/main" id="{8DB83DB4-D0E4-DCF4-D176-6F6FDAD8ADBA}"/>
              </a:ext>
            </a:extLst>
          </p:cNvPr>
          <p:cNvSpPr>
            <a:spLocks noGrp="1"/>
          </p:cNvSpPr>
          <p:nvPr>
            <p:ph type="body" sz="quarter" idx="33"/>
          </p:nvPr>
        </p:nvSpPr>
        <p:spPr>
          <a:xfrm>
            <a:off x="582568" y="1666700"/>
            <a:ext cx="4585777" cy="507946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3767DF90-42D4-7BEC-0AA4-D70B2BB892AB}"/>
              </a:ext>
            </a:extLst>
          </p:cNvPr>
          <p:cNvSpPr>
            <a:spLocks noGrp="1"/>
          </p:cNvSpPr>
          <p:nvPr>
            <p:ph type="body" sz="quarter" idx="34"/>
          </p:nvPr>
        </p:nvSpPr>
        <p:spPr>
          <a:xfrm>
            <a:off x="5516725" y="1666700"/>
            <a:ext cx="4585777" cy="507946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791866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alf Page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AB0D5D-CE52-7397-BEE9-B239F97EB1FD}"/>
              </a:ext>
            </a:extLst>
          </p:cNvPr>
          <p:cNvGraphicFramePr>
            <a:graphicFrameLocks noChangeAspect="1"/>
          </p:cNvGraphicFramePr>
          <p:nvPr userDrawn="1">
            <p:custDataLst>
              <p:tags r:id="rId1"/>
            </p:custDataLst>
            <p:extLst>
              <p:ext uri="{D42A27DB-BD31-4B8C-83A1-F6EECF244321}">
                <p14:modId xmlns:p14="http://schemas.microsoft.com/office/powerpoint/2010/main" val="49514159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DAB0D5D-CE52-7397-BEE9-B239F97EB1FD}"/>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20" name="Picture Placeholder 2"/>
          <p:cNvSpPr>
            <a:spLocks noGrp="1"/>
          </p:cNvSpPr>
          <p:nvPr>
            <p:ph type="pic" sz="quarter" idx="11"/>
          </p:nvPr>
        </p:nvSpPr>
        <p:spPr>
          <a:xfrm>
            <a:off x="5356191" y="120746"/>
            <a:ext cx="5345549" cy="7438929"/>
          </a:xfrm>
        </p:spPr>
        <p:txBody>
          <a:bodyPr/>
          <a:lstStyle>
            <a:lvl1pPr rtl="0">
              <a:defRPr/>
            </a:lvl1pPr>
          </a:lstStyle>
          <a:p>
            <a:r>
              <a:rPr lang="en-US" noProof="0"/>
              <a:t>Click icon to add picture</a:t>
            </a:r>
            <a:endParaRPr lang="en-AU"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itle 1">
            <a:extLst>
              <a:ext uri="{FF2B5EF4-FFF2-40B4-BE49-F238E27FC236}">
                <a16:creationId xmlns:a16="http://schemas.microsoft.com/office/drawing/2014/main" id="{3D401977-8936-FE47-CD80-29C8FE6CB1A9}"/>
              </a:ext>
            </a:extLst>
          </p:cNvPr>
          <p:cNvSpPr>
            <a:spLocks noGrp="1"/>
          </p:cNvSpPr>
          <p:nvPr>
            <p:ph type="title" hasCustomPrompt="1"/>
          </p:nvPr>
        </p:nvSpPr>
        <p:spPr>
          <a:xfrm>
            <a:off x="582838" y="436518"/>
            <a:ext cx="4351846"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4" name="TextBox 3">
            <a:extLst>
              <a:ext uri="{FF2B5EF4-FFF2-40B4-BE49-F238E27FC236}">
                <a16:creationId xmlns:a16="http://schemas.microsoft.com/office/drawing/2014/main" id="{29A34265-6D59-B203-016A-0B3037EDFEC1}"/>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5">
            <a:extLst>
              <a:ext uri="{FF2B5EF4-FFF2-40B4-BE49-F238E27FC236}">
                <a16:creationId xmlns:a16="http://schemas.microsoft.com/office/drawing/2014/main" id="{569BFF13-BF5B-6583-1000-DA63AAFE02F7}"/>
              </a:ext>
            </a:extLst>
          </p:cNvPr>
          <p:cNvSpPr>
            <a:spLocks noGrp="1"/>
          </p:cNvSpPr>
          <p:nvPr>
            <p:ph type="body" sz="quarter" idx="14" hasCustomPrompt="1"/>
          </p:nvPr>
        </p:nvSpPr>
        <p:spPr>
          <a:xfrm>
            <a:off x="582838" y="1150817"/>
            <a:ext cx="4351846" cy="476200"/>
          </a:xfrm>
        </p:spPr>
        <p:txBody>
          <a:bodyPr/>
          <a:lstStyle>
            <a:lvl1pPr rtl="0">
              <a:defRPr sz="1127">
                <a:solidFill>
                  <a:schemeClr val="bg2"/>
                </a:solidFill>
              </a:defRPr>
            </a:lvl1pPr>
          </a:lstStyle>
          <a:p>
            <a:pPr lvl="0"/>
            <a:r>
              <a:rPr lang="en-AU" noProof="0"/>
              <a:t>Intro text (2 lines max)</a:t>
            </a:r>
          </a:p>
        </p:txBody>
      </p:sp>
      <p:sp>
        <p:nvSpPr>
          <p:cNvPr id="7" name="Text Placeholder 4">
            <a:extLst>
              <a:ext uri="{FF2B5EF4-FFF2-40B4-BE49-F238E27FC236}">
                <a16:creationId xmlns:a16="http://schemas.microsoft.com/office/drawing/2014/main" id="{1D14490A-AA49-E65D-32C8-D55AB455764C}"/>
              </a:ext>
            </a:extLst>
          </p:cNvPr>
          <p:cNvSpPr>
            <a:spLocks noGrp="1"/>
          </p:cNvSpPr>
          <p:nvPr>
            <p:ph type="body" sz="quarter" idx="33"/>
          </p:nvPr>
        </p:nvSpPr>
        <p:spPr>
          <a:xfrm>
            <a:off x="582568" y="1666700"/>
            <a:ext cx="4351845" cy="507946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865494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Cover Long Tit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F8084B-7819-DA88-5E78-8D2124498877}"/>
              </a:ext>
            </a:extLst>
          </p:cNvPr>
          <p:cNvGraphicFramePr>
            <a:graphicFrameLocks noChangeAspect="1"/>
          </p:cNvGraphicFramePr>
          <p:nvPr userDrawn="1">
            <p:custDataLst>
              <p:tags r:id="rId1"/>
            </p:custDataLst>
            <p:extLst>
              <p:ext uri="{D42A27DB-BD31-4B8C-83A1-F6EECF244321}">
                <p14:modId xmlns:p14="http://schemas.microsoft.com/office/powerpoint/2010/main" val="3131508409"/>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F0F8084B-7819-DA88-5E78-8D2124498877}"/>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9" name="Picture Placeholder 3">
            <a:extLst>
              <a:ext uri="{FF2B5EF4-FFF2-40B4-BE49-F238E27FC236}">
                <a16:creationId xmlns:a16="http://schemas.microsoft.com/office/drawing/2014/main" id="{62185120-88F2-4D07-8DF8-A722079EC909}"/>
              </a:ext>
            </a:extLst>
          </p:cNvPr>
          <p:cNvSpPr>
            <a:spLocks noGrp="1"/>
          </p:cNvSpPr>
          <p:nvPr>
            <p:ph type="pic" sz="quarter" idx="12"/>
          </p:nvPr>
        </p:nvSpPr>
        <p:spPr>
          <a:xfrm>
            <a:off x="3" y="119050"/>
            <a:ext cx="10691813" cy="6349333"/>
          </a:xfrm>
        </p:spPr>
        <p:txBody>
          <a:bodyPr/>
          <a:lstStyle>
            <a:lvl1pPr rtl="0">
              <a:defRPr/>
            </a:lvl1pPr>
          </a:lstStyle>
          <a:p>
            <a:r>
              <a:rPr lang="en-US" noProof="0"/>
              <a:t>Click icon to add picture</a:t>
            </a:r>
            <a:endParaRPr lang="en-AU" noProof="0"/>
          </a:p>
        </p:txBody>
      </p:sp>
      <p:pic>
        <p:nvPicPr>
          <p:cNvPr id="15" name="Picture 14">
            <a:extLst>
              <a:ext uri="{FF2B5EF4-FFF2-40B4-BE49-F238E27FC236}">
                <a16:creationId xmlns:a16="http://schemas.microsoft.com/office/drawing/2014/main" id="{084BC85A-66C1-420B-838D-D2A903360398}"/>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
        <p:nvSpPr>
          <p:cNvPr id="10" name="Rectangle 9"/>
          <p:cNvSpPr/>
          <p:nvPr userDrawn="1"/>
        </p:nvSpPr>
        <p:spPr>
          <a:xfrm>
            <a:off x="2" y="6479480"/>
            <a:ext cx="10693108" cy="1081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2" name="Picture 11" descr="A picture containing drawing&#10;&#10;Description automatically generated">
            <a:extLst>
              <a:ext uri="{FF2B5EF4-FFF2-40B4-BE49-F238E27FC236}">
                <a16:creationId xmlns:a16="http://schemas.microsoft.com/office/drawing/2014/main" id="{9C37872E-03F3-46BF-8359-B9ED1D13B87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313041" y="6881562"/>
            <a:ext cx="1022172" cy="284900"/>
          </a:xfrm>
          <a:prstGeom prst="rect">
            <a:avLst/>
          </a:prstGeom>
        </p:spPr>
      </p:pic>
      <p:sp>
        <p:nvSpPr>
          <p:cNvPr id="7" name="Text Placeholder 14">
            <a:extLst>
              <a:ext uri="{FF2B5EF4-FFF2-40B4-BE49-F238E27FC236}">
                <a16:creationId xmlns:a16="http://schemas.microsoft.com/office/drawing/2014/main" id="{DB7DA472-28D5-479A-A74E-1A042001D22F}"/>
              </a:ext>
            </a:extLst>
          </p:cNvPr>
          <p:cNvSpPr>
            <a:spLocks noGrp="1"/>
          </p:cNvSpPr>
          <p:nvPr>
            <p:ph type="body" sz="quarter" idx="11" hasCustomPrompt="1"/>
          </p:nvPr>
        </p:nvSpPr>
        <p:spPr>
          <a:xfrm>
            <a:off x="582838" y="674617"/>
            <a:ext cx="3497020" cy="3571500"/>
          </a:xfrm>
          <a:solidFill>
            <a:schemeClr val="bg2">
              <a:alpha val="90000"/>
            </a:schemeClr>
          </a:solidFill>
        </p:spPr>
        <p:txBody>
          <a:bodyPr wrap="square" lIns="216000" tIns="144000" rIns="216000" bIns="576000" anchor="t" anchorCtr="0">
            <a:noAutofit/>
          </a:bodyPr>
          <a:lstStyle>
            <a:lvl1pPr rtl="0">
              <a:lnSpc>
                <a:spcPct val="95000"/>
              </a:lnSpc>
              <a:defRPr sz="3076">
                <a:solidFill>
                  <a:schemeClr val="bg1"/>
                </a:solidFill>
                <a:latin typeface="Segoe UI Semibold" panose="020B0702040204020203" pitchFamily="34" charset="0"/>
              </a:defRPr>
            </a:lvl1pPr>
          </a:lstStyle>
          <a:p>
            <a:pPr lvl="0"/>
            <a:r>
              <a:rPr lang="en-AU" noProof="0"/>
              <a:t>Longer title</a:t>
            </a:r>
          </a:p>
        </p:txBody>
      </p:sp>
      <p:sp>
        <p:nvSpPr>
          <p:cNvPr id="16" name="Text Placeholder 14">
            <a:extLst>
              <a:ext uri="{FF2B5EF4-FFF2-40B4-BE49-F238E27FC236}">
                <a16:creationId xmlns:a16="http://schemas.microsoft.com/office/drawing/2014/main" id="{FB2DEA34-7AB2-4874-8D1E-F17B61A83B08}"/>
              </a:ext>
            </a:extLst>
          </p:cNvPr>
          <p:cNvSpPr>
            <a:spLocks noGrp="1"/>
          </p:cNvSpPr>
          <p:nvPr>
            <p:ph type="body" sz="quarter" idx="14" hasCustomPrompt="1"/>
          </p:nvPr>
        </p:nvSpPr>
        <p:spPr>
          <a:xfrm>
            <a:off x="582837" y="3650867"/>
            <a:ext cx="3497019" cy="344824"/>
          </a:xfrm>
        </p:spPr>
        <p:txBody>
          <a:bodyPr wrap="square" lIns="216000">
            <a:spAutoFit/>
          </a:bodyPr>
          <a:lstStyle>
            <a:lvl1pPr rtl="0">
              <a:defRPr sz="1641" baseline="0">
                <a:solidFill>
                  <a:schemeClr val="bg1"/>
                </a:solidFill>
                <a:latin typeface="Segoe UI Light" panose="020B0502040204020203" pitchFamily="34" charset="0"/>
              </a:defRPr>
            </a:lvl1pPr>
          </a:lstStyle>
          <a:p>
            <a:pPr lvl="0"/>
            <a:r>
              <a:rPr lang="en-AU" noProof="0"/>
              <a:t>Sub title</a:t>
            </a:r>
          </a:p>
        </p:txBody>
      </p:sp>
    </p:spTree>
    <p:extLst>
      <p:ext uri="{BB962C8B-B14F-4D97-AF65-F5344CB8AC3E}">
        <p14:creationId xmlns:p14="http://schemas.microsoft.com/office/powerpoint/2010/main" val="29620336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ttom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65348F-0D4B-A706-1D45-5AC28D186E50}"/>
              </a:ext>
            </a:extLst>
          </p:cNvPr>
          <p:cNvGraphicFramePr>
            <a:graphicFrameLocks noChangeAspect="1"/>
          </p:cNvGraphicFramePr>
          <p:nvPr userDrawn="1">
            <p:custDataLst>
              <p:tags r:id="rId1"/>
            </p:custDataLst>
            <p:extLst>
              <p:ext uri="{D42A27DB-BD31-4B8C-83A1-F6EECF244321}">
                <p14:modId xmlns:p14="http://schemas.microsoft.com/office/powerpoint/2010/main" val="4020138087"/>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4F65348F-0D4B-A706-1D45-5AC28D186E50}"/>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20" name="Picture Placeholder 2"/>
          <p:cNvSpPr>
            <a:spLocks noGrp="1"/>
          </p:cNvSpPr>
          <p:nvPr>
            <p:ph type="pic" sz="quarter" idx="11"/>
          </p:nvPr>
        </p:nvSpPr>
        <p:spPr>
          <a:xfrm>
            <a:off x="28" y="5527057"/>
            <a:ext cx="10691813" cy="2032618"/>
          </a:xfrm>
        </p:spPr>
        <p:txBody>
          <a:bodyPr/>
          <a:lstStyle>
            <a:lvl1pPr rtl="0">
              <a:defRPr/>
            </a:lvl1pPr>
          </a:lstStyle>
          <a:p>
            <a:r>
              <a:rPr lang="en-US" noProof="0"/>
              <a:t>Click icon to add picture</a:t>
            </a:r>
            <a:endParaRPr lang="en-AU"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itle 1">
            <a:extLst>
              <a:ext uri="{FF2B5EF4-FFF2-40B4-BE49-F238E27FC236}">
                <a16:creationId xmlns:a16="http://schemas.microsoft.com/office/drawing/2014/main" id="{C798875A-94A6-1FAB-55B9-0CA4B52A76DB}"/>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4" name="TextBox 3">
            <a:extLst>
              <a:ext uri="{FF2B5EF4-FFF2-40B4-BE49-F238E27FC236}">
                <a16:creationId xmlns:a16="http://schemas.microsoft.com/office/drawing/2014/main" id="{BBD822A7-C1F2-F004-CBB5-4AB8BBA219A6}"/>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5">
            <a:extLst>
              <a:ext uri="{FF2B5EF4-FFF2-40B4-BE49-F238E27FC236}">
                <a16:creationId xmlns:a16="http://schemas.microsoft.com/office/drawing/2014/main" id="{B72B3899-523B-E866-1054-A59C0B7AC0CE}"/>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6" name="Text Placeholder 4">
            <a:extLst>
              <a:ext uri="{FF2B5EF4-FFF2-40B4-BE49-F238E27FC236}">
                <a16:creationId xmlns:a16="http://schemas.microsoft.com/office/drawing/2014/main" id="{E6491B9D-0A51-E11A-0B53-FE431A679C63}"/>
              </a:ext>
            </a:extLst>
          </p:cNvPr>
          <p:cNvSpPr>
            <a:spLocks noGrp="1"/>
          </p:cNvSpPr>
          <p:nvPr>
            <p:ph type="body" sz="quarter" idx="33"/>
          </p:nvPr>
        </p:nvSpPr>
        <p:spPr>
          <a:xfrm>
            <a:off x="582567" y="1666700"/>
            <a:ext cx="9519664" cy="34921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406655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grey bottom pan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3A3FA8-ECC5-E2CC-D94B-D58318BE518E}"/>
              </a:ext>
            </a:extLst>
          </p:cNvPr>
          <p:cNvGraphicFramePr>
            <a:graphicFrameLocks noChangeAspect="1"/>
          </p:cNvGraphicFramePr>
          <p:nvPr userDrawn="1">
            <p:custDataLst>
              <p:tags r:id="rId1"/>
            </p:custDataLst>
            <p:extLst>
              <p:ext uri="{D42A27DB-BD31-4B8C-83A1-F6EECF244321}">
                <p14:modId xmlns:p14="http://schemas.microsoft.com/office/powerpoint/2010/main" val="2572208850"/>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5B3A3FA8-ECC5-E2CC-D94B-D58318BE518E}"/>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2" name="Прямоугольник 7"/>
          <p:cNvSpPr/>
          <p:nvPr userDrawn="1"/>
        </p:nvSpPr>
        <p:spPr>
          <a:xfrm>
            <a:off x="-1" y="5526100"/>
            <a:ext cx="10689222" cy="203532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itle 1">
            <a:extLst>
              <a:ext uri="{FF2B5EF4-FFF2-40B4-BE49-F238E27FC236}">
                <a16:creationId xmlns:a16="http://schemas.microsoft.com/office/drawing/2014/main" id="{1B7B694B-43F5-62DF-C4A7-57906D5A02FE}"/>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4" name="TextBox 3">
            <a:extLst>
              <a:ext uri="{FF2B5EF4-FFF2-40B4-BE49-F238E27FC236}">
                <a16:creationId xmlns:a16="http://schemas.microsoft.com/office/drawing/2014/main" id="{99946887-EC1C-4D43-18AE-7B89EB5BC92E}"/>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5">
            <a:extLst>
              <a:ext uri="{FF2B5EF4-FFF2-40B4-BE49-F238E27FC236}">
                <a16:creationId xmlns:a16="http://schemas.microsoft.com/office/drawing/2014/main" id="{C210A4ED-1A18-A07B-3507-B3118B4DC9A3}"/>
              </a:ext>
            </a:extLst>
          </p:cNvPr>
          <p:cNvSpPr>
            <a:spLocks noGrp="1"/>
          </p:cNvSpPr>
          <p:nvPr>
            <p:ph type="body" sz="quarter" idx="15"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7" name="Text Placeholder 4">
            <a:extLst>
              <a:ext uri="{FF2B5EF4-FFF2-40B4-BE49-F238E27FC236}">
                <a16:creationId xmlns:a16="http://schemas.microsoft.com/office/drawing/2014/main" id="{00FE02A3-AC73-092E-558C-484518BB382E}"/>
              </a:ext>
            </a:extLst>
          </p:cNvPr>
          <p:cNvSpPr>
            <a:spLocks noGrp="1"/>
          </p:cNvSpPr>
          <p:nvPr>
            <p:ph type="body" sz="quarter" idx="33"/>
          </p:nvPr>
        </p:nvSpPr>
        <p:spPr>
          <a:xfrm>
            <a:off x="582567" y="1666700"/>
            <a:ext cx="9519664" cy="34921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4">
            <a:extLst>
              <a:ext uri="{FF2B5EF4-FFF2-40B4-BE49-F238E27FC236}">
                <a16:creationId xmlns:a16="http://schemas.microsoft.com/office/drawing/2014/main" id="{21ABA514-6BD5-6F2F-C707-DEEC27F4ECAF}"/>
              </a:ext>
            </a:extLst>
          </p:cNvPr>
          <p:cNvSpPr>
            <a:spLocks noGrp="1"/>
          </p:cNvSpPr>
          <p:nvPr>
            <p:ph type="body" sz="quarter" idx="34"/>
          </p:nvPr>
        </p:nvSpPr>
        <p:spPr>
          <a:xfrm>
            <a:off x="582567" y="5793767"/>
            <a:ext cx="9519664" cy="1111133"/>
          </a:xfrm>
        </p:spPr>
        <p:txBody>
          <a:bodyPr anchor="ctr" anchorCtr="0"/>
          <a:lstStyle>
            <a:lvl1pPr rtl="0">
              <a:defRPr>
                <a:solidFill>
                  <a:schemeClr val="tx1"/>
                </a:solidFill>
              </a:defRPr>
            </a:lvl1pPr>
            <a:lvl2pPr rtl="0">
              <a:defRPr>
                <a:solidFill>
                  <a:schemeClr val="tx1"/>
                </a:solidFill>
              </a:defRPr>
            </a:lvl2pPr>
            <a:lvl3pPr rtl="0">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6254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bottom pan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6DDB24-E71F-0233-AC86-2063AC198A17}"/>
              </a:ext>
            </a:extLst>
          </p:cNvPr>
          <p:cNvGraphicFramePr>
            <a:graphicFrameLocks noChangeAspect="1"/>
          </p:cNvGraphicFramePr>
          <p:nvPr userDrawn="1">
            <p:custDataLst>
              <p:tags r:id="rId1"/>
            </p:custDataLst>
            <p:extLst>
              <p:ext uri="{D42A27DB-BD31-4B8C-83A1-F6EECF244321}">
                <p14:modId xmlns:p14="http://schemas.microsoft.com/office/powerpoint/2010/main" val="1382229485"/>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006DDB24-E71F-0233-AC86-2063AC198A17}"/>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2" name="Прямоугольник 7"/>
          <p:cNvSpPr/>
          <p:nvPr userDrawn="1"/>
        </p:nvSpPr>
        <p:spPr>
          <a:xfrm>
            <a:off x="1" y="5526100"/>
            <a:ext cx="10689222" cy="2035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sz="1846" noProof="0"/>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 name="Title 1">
            <a:extLst>
              <a:ext uri="{FF2B5EF4-FFF2-40B4-BE49-F238E27FC236}">
                <a16:creationId xmlns:a16="http://schemas.microsoft.com/office/drawing/2014/main" id="{CFBC7553-B5EC-AB30-E409-9D14D1DBDAA9}"/>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5" name="TextBox 4">
            <a:extLst>
              <a:ext uri="{FF2B5EF4-FFF2-40B4-BE49-F238E27FC236}">
                <a16:creationId xmlns:a16="http://schemas.microsoft.com/office/drawing/2014/main" id="{A4630B61-C1D5-8098-5B04-00ACE5DBD1F3}"/>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086114E9-73A4-B680-53E8-396592075A9A}"/>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9" name="Text Placeholder 4">
            <a:extLst>
              <a:ext uri="{FF2B5EF4-FFF2-40B4-BE49-F238E27FC236}">
                <a16:creationId xmlns:a16="http://schemas.microsoft.com/office/drawing/2014/main" id="{2097019F-A85D-296F-E3AC-06E8523E8BDA}"/>
              </a:ext>
            </a:extLst>
          </p:cNvPr>
          <p:cNvSpPr>
            <a:spLocks noGrp="1"/>
          </p:cNvSpPr>
          <p:nvPr>
            <p:ph type="body" sz="quarter" idx="33"/>
          </p:nvPr>
        </p:nvSpPr>
        <p:spPr>
          <a:xfrm>
            <a:off x="582567" y="1666700"/>
            <a:ext cx="9519664" cy="34921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4">
            <a:extLst>
              <a:ext uri="{FF2B5EF4-FFF2-40B4-BE49-F238E27FC236}">
                <a16:creationId xmlns:a16="http://schemas.microsoft.com/office/drawing/2014/main" id="{1B433785-DF66-7781-D72A-2496985D9D33}"/>
              </a:ext>
            </a:extLst>
          </p:cNvPr>
          <p:cNvSpPr>
            <a:spLocks noGrp="1"/>
          </p:cNvSpPr>
          <p:nvPr>
            <p:ph type="body" sz="quarter" idx="34"/>
          </p:nvPr>
        </p:nvSpPr>
        <p:spPr>
          <a:xfrm>
            <a:off x="582567" y="5793767"/>
            <a:ext cx="9519664" cy="1111133"/>
          </a:xfrm>
        </p:spPr>
        <p:txBody>
          <a:bodyPr anchor="ctr" anchorCtr="0"/>
          <a:lstStyle>
            <a:lvl1pPr rtl="0">
              <a:defRPr>
                <a:solidFill>
                  <a:schemeClr val="bg1"/>
                </a:solidFill>
              </a:defRPr>
            </a:lvl1pPr>
            <a:lvl2pPr rtl="0">
              <a:defRPr>
                <a:solidFill>
                  <a:schemeClr val="bg1"/>
                </a:solidFill>
              </a:defRPr>
            </a:lvl2pPr>
            <a:lvl3pPr rtl="0">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69024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then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C6F4F2-9133-6FC1-6044-614C55F97F67}"/>
              </a:ext>
            </a:extLst>
          </p:cNvPr>
          <p:cNvGraphicFramePr>
            <a:graphicFrameLocks noChangeAspect="1"/>
          </p:cNvGraphicFramePr>
          <p:nvPr userDrawn="1">
            <p:custDataLst>
              <p:tags r:id="rId1"/>
            </p:custDataLst>
            <p:extLst>
              <p:ext uri="{D42A27DB-BD31-4B8C-83A1-F6EECF244321}">
                <p14:modId xmlns:p14="http://schemas.microsoft.com/office/powerpoint/2010/main" val="510476578"/>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A1C6F4F2-9133-6FC1-6044-614C55F97F67}"/>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ext Placeholder 2">
            <a:extLst>
              <a:ext uri="{FF2B5EF4-FFF2-40B4-BE49-F238E27FC236}">
                <a16:creationId xmlns:a16="http://schemas.microsoft.com/office/drawing/2014/main" id="{6B928883-E18E-2951-FA14-8D6906A03616}"/>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5" name="Title 1">
            <a:extLst>
              <a:ext uri="{FF2B5EF4-FFF2-40B4-BE49-F238E27FC236}">
                <a16:creationId xmlns:a16="http://schemas.microsoft.com/office/drawing/2014/main" id="{E2032B4E-4A61-535C-4E89-D599385E659A}"/>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6" name="TextBox 5">
            <a:extLst>
              <a:ext uri="{FF2B5EF4-FFF2-40B4-BE49-F238E27FC236}">
                <a16:creationId xmlns:a16="http://schemas.microsoft.com/office/drawing/2014/main" id="{768433E2-D16E-CF28-CAA2-E3E28BA0FEA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0333C0F-CB75-24E6-C5DC-84943B30B353}"/>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14" name="Text Placeholder 4">
            <a:extLst>
              <a:ext uri="{FF2B5EF4-FFF2-40B4-BE49-F238E27FC236}">
                <a16:creationId xmlns:a16="http://schemas.microsoft.com/office/drawing/2014/main" id="{8DE6539D-9240-B269-31C2-567E7E9BB994}"/>
              </a:ext>
            </a:extLst>
          </p:cNvPr>
          <p:cNvSpPr>
            <a:spLocks noGrp="1"/>
          </p:cNvSpPr>
          <p:nvPr>
            <p:ph type="body" sz="quarter" idx="33"/>
          </p:nvPr>
        </p:nvSpPr>
        <p:spPr>
          <a:xfrm>
            <a:off x="582567" y="1666700"/>
            <a:ext cx="9519664" cy="34921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4">
            <a:extLst>
              <a:ext uri="{FF2B5EF4-FFF2-40B4-BE49-F238E27FC236}">
                <a16:creationId xmlns:a16="http://schemas.microsoft.com/office/drawing/2014/main" id="{F1365853-4C34-ED8F-EA2B-8B5E3DB80A39}"/>
              </a:ext>
            </a:extLst>
          </p:cNvPr>
          <p:cNvSpPr>
            <a:spLocks noGrp="1"/>
          </p:cNvSpPr>
          <p:nvPr>
            <p:ph type="body" sz="quarter" idx="34"/>
          </p:nvPr>
        </p:nvSpPr>
        <p:spPr>
          <a:xfrm>
            <a:off x="582567" y="5372141"/>
            <a:ext cx="9519664" cy="1282169"/>
          </a:xfrm>
        </p:spPr>
        <p:txBody>
          <a:bodyPr anchor="ctr" anchorCtr="0"/>
          <a:lstStyle>
            <a:lvl1pPr rtl="0">
              <a:defRPr>
                <a:solidFill>
                  <a:schemeClr val="tx1"/>
                </a:solidFill>
              </a:defRPr>
            </a:lvl1pPr>
            <a:lvl2pPr rtl="0">
              <a:defRPr>
                <a:solidFill>
                  <a:schemeClr val="tx1"/>
                </a:solidFill>
              </a:defRPr>
            </a:lvl2pPr>
            <a:lvl3pPr rtl="0">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0600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then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1159773"/>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sp>
        <p:nvSpPr>
          <p:cNvPr id="13" name="Rectangle 12"/>
          <p:cNvSpPr/>
          <p:nvPr userDrawn="1"/>
        </p:nvSpPr>
        <p:spPr>
          <a:xfrm>
            <a:off x="1" y="1701432"/>
            <a:ext cx="10691813" cy="52629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ext Placeholder 2">
            <a:extLst>
              <a:ext uri="{FF2B5EF4-FFF2-40B4-BE49-F238E27FC236}">
                <a16:creationId xmlns:a16="http://schemas.microsoft.com/office/drawing/2014/main" id="{F90DEA4D-7AF5-3514-ED78-2A5329BC7ADF}"/>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5" name="Title 1">
            <a:extLst>
              <a:ext uri="{FF2B5EF4-FFF2-40B4-BE49-F238E27FC236}">
                <a16:creationId xmlns:a16="http://schemas.microsoft.com/office/drawing/2014/main" id="{387B6E27-226A-A611-5009-553D638BB9DC}"/>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6" name="TextBox 5">
            <a:extLst>
              <a:ext uri="{FF2B5EF4-FFF2-40B4-BE49-F238E27FC236}">
                <a16:creationId xmlns:a16="http://schemas.microsoft.com/office/drawing/2014/main" id="{CDEE55E8-A06B-1A4F-6AE9-04B524E9E2DC}"/>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22AFAC08-851B-EAC3-96DA-638ED2CA5085}"/>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F43EAFCF-1A3E-66AC-FBFF-AAE1C5BAC1A3}"/>
              </a:ext>
            </a:extLst>
          </p:cNvPr>
          <p:cNvSpPr>
            <a:spLocks noGrp="1"/>
          </p:cNvSpPr>
          <p:nvPr>
            <p:ph type="body" sz="quarter" idx="33"/>
          </p:nvPr>
        </p:nvSpPr>
        <p:spPr>
          <a:xfrm>
            <a:off x="582567" y="1865117"/>
            <a:ext cx="9519664" cy="33334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4">
            <a:extLst>
              <a:ext uri="{FF2B5EF4-FFF2-40B4-BE49-F238E27FC236}">
                <a16:creationId xmlns:a16="http://schemas.microsoft.com/office/drawing/2014/main" id="{B3B791BD-BA03-B21B-FA16-454622D84D5F}"/>
              </a:ext>
            </a:extLst>
          </p:cNvPr>
          <p:cNvSpPr>
            <a:spLocks noGrp="1"/>
          </p:cNvSpPr>
          <p:nvPr>
            <p:ph type="body" sz="quarter" idx="34"/>
          </p:nvPr>
        </p:nvSpPr>
        <p:spPr>
          <a:xfrm>
            <a:off x="582567" y="5372141"/>
            <a:ext cx="9519664" cy="1282169"/>
          </a:xfrm>
        </p:spPr>
        <p:txBody>
          <a:bodyPr anchor="ctr" anchorCtr="0"/>
          <a:lstStyle>
            <a:lvl1pPr rtl="0">
              <a:defRPr>
                <a:solidFill>
                  <a:schemeClr val="tx1"/>
                </a:solidFill>
              </a:defRPr>
            </a:lvl1pPr>
            <a:lvl2pPr rtl="0">
              <a:defRPr>
                <a:solidFill>
                  <a:schemeClr val="tx1"/>
                </a:solidFill>
              </a:defRPr>
            </a:lvl2pPr>
            <a:lvl3pPr rtl="0">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26126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then conten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17393104"/>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sp>
        <p:nvSpPr>
          <p:cNvPr id="13" name="Rectangle 12"/>
          <p:cNvSpPr/>
          <p:nvPr userDrawn="1"/>
        </p:nvSpPr>
        <p:spPr>
          <a:xfrm>
            <a:off x="1" y="1701432"/>
            <a:ext cx="10691813" cy="52629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ext Placeholder 2">
            <a:extLst>
              <a:ext uri="{FF2B5EF4-FFF2-40B4-BE49-F238E27FC236}">
                <a16:creationId xmlns:a16="http://schemas.microsoft.com/office/drawing/2014/main" id="{1B436D51-F24F-B66F-20F9-ADDDCE108993}"/>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5" name="Title 1">
            <a:extLst>
              <a:ext uri="{FF2B5EF4-FFF2-40B4-BE49-F238E27FC236}">
                <a16:creationId xmlns:a16="http://schemas.microsoft.com/office/drawing/2014/main" id="{130CF068-8A57-258C-A1D0-6C45F8B79835}"/>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8" name="TextBox 7">
            <a:extLst>
              <a:ext uri="{FF2B5EF4-FFF2-40B4-BE49-F238E27FC236}">
                <a16:creationId xmlns:a16="http://schemas.microsoft.com/office/drawing/2014/main" id="{392121A4-6F50-152A-A800-6065B6C2CD01}"/>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5">
            <a:extLst>
              <a:ext uri="{FF2B5EF4-FFF2-40B4-BE49-F238E27FC236}">
                <a16:creationId xmlns:a16="http://schemas.microsoft.com/office/drawing/2014/main" id="{C750C7A8-ED65-90AB-4409-E45723C432FF}"/>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12" name="Text Placeholder 4">
            <a:extLst>
              <a:ext uri="{FF2B5EF4-FFF2-40B4-BE49-F238E27FC236}">
                <a16:creationId xmlns:a16="http://schemas.microsoft.com/office/drawing/2014/main" id="{72F5427B-6728-0293-3E55-C04DB4B9DB7A}"/>
              </a:ext>
            </a:extLst>
          </p:cNvPr>
          <p:cNvSpPr>
            <a:spLocks noGrp="1"/>
          </p:cNvSpPr>
          <p:nvPr>
            <p:ph type="body" sz="quarter" idx="33"/>
          </p:nvPr>
        </p:nvSpPr>
        <p:spPr>
          <a:xfrm>
            <a:off x="582567" y="1865117"/>
            <a:ext cx="9519664" cy="33334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4">
            <a:extLst>
              <a:ext uri="{FF2B5EF4-FFF2-40B4-BE49-F238E27FC236}">
                <a16:creationId xmlns:a16="http://schemas.microsoft.com/office/drawing/2014/main" id="{1638D3D9-DF00-25B4-9983-6E74D903FCB5}"/>
              </a:ext>
            </a:extLst>
          </p:cNvPr>
          <p:cNvSpPr>
            <a:spLocks noGrp="1"/>
          </p:cNvSpPr>
          <p:nvPr>
            <p:ph type="body" sz="quarter" idx="34"/>
          </p:nvPr>
        </p:nvSpPr>
        <p:spPr>
          <a:xfrm>
            <a:off x="582567" y="5372141"/>
            <a:ext cx="9519664" cy="1282169"/>
          </a:xfrm>
        </p:spPr>
        <p:txBody>
          <a:bodyPr anchor="ctr" anchorCtr="0"/>
          <a:lstStyle>
            <a:lvl1pPr rtl="0">
              <a:defRPr>
                <a:solidFill>
                  <a:schemeClr val="bg1"/>
                </a:solidFill>
              </a:defRPr>
            </a:lvl1pPr>
            <a:lvl2pPr rtl="0">
              <a:defRPr>
                <a:solidFill>
                  <a:schemeClr val="bg1"/>
                </a:solidFill>
              </a:defRPr>
            </a:lvl2pPr>
            <a:lvl3pPr rtl="0">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178966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 panel_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40089753"/>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sp>
        <p:nvSpPr>
          <p:cNvPr id="13" name="Rectangle 12"/>
          <p:cNvSpPr/>
          <p:nvPr userDrawn="1"/>
        </p:nvSpPr>
        <p:spPr>
          <a:xfrm>
            <a:off x="1" y="1701432"/>
            <a:ext cx="10691813" cy="52629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ext Placeholder 2">
            <a:extLst>
              <a:ext uri="{FF2B5EF4-FFF2-40B4-BE49-F238E27FC236}">
                <a16:creationId xmlns:a16="http://schemas.microsoft.com/office/drawing/2014/main" id="{1B436D51-F24F-B66F-20F9-ADDDCE108993}"/>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5" name="Title 1">
            <a:extLst>
              <a:ext uri="{FF2B5EF4-FFF2-40B4-BE49-F238E27FC236}">
                <a16:creationId xmlns:a16="http://schemas.microsoft.com/office/drawing/2014/main" id="{130CF068-8A57-258C-A1D0-6C45F8B79835}"/>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8" name="TextBox 7">
            <a:extLst>
              <a:ext uri="{FF2B5EF4-FFF2-40B4-BE49-F238E27FC236}">
                <a16:creationId xmlns:a16="http://schemas.microsoft.com/office/drawing/2014/main" id="{392121A4-6F50-152A-A800-6065B6C2CD01}"/>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5">
            <a:extLst>
              <a:ext uri="{FF2B5EF4-FFF2-40B4-BE49-F238E27FC236}">
                <a16:creationId xmlns:a16="http://schemas.microsoft.com/office/drawing/2014/main" id="{C750C7A8-ED65-90AB-4409-E45723C432FF}"/>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6" name="Picture Placeholder 20">
            <a:extLst>
              <a:ext uri="{FF2B5EF4-FFF2-40B4-BE49-F238E27FC236}">
                <a16:creationId xmlns:a16="http://schemas.microsoft.com/office/drawing/2014/main" id="{240C4258-9F15-CFD5-3816-1814B919C46D}"/>
              </a:ext>
            </a:extLst>
          </p:cNvPr>
          <p:cNvSpPr>
            <a:spLocks noGrp="1"/>
          </p:cNvSpPr>
          <p:nvPr>
            <p:ph type="pic" sz="quarter" idx="15" hasCustomPrompt="1"/>
          </p:nvPr>
        </p:nvSpPr>
        <p:spPr>
          <a:xfrm>
            <a:off x="1378837" y="3146069"/>
            <a:ext cx="582837" cy="595250"/>
          </a:xfrm>
          <a:prstGeom prst="rect">
            <a:avLst/>
          </a:prstGeom>
        </p:spPr>
        <p:txBody>
          <a:bodyPr/>
          <a:lstStyle>
            <a:lvl1pPr algn="ctr" rtl="0">
              <a:defRPr sz="1641" b="0" baseline="0">
                <a:solidFill>
                  <a:schemeClr val="bg2"/>
                </a:solidFill>
              </a:defRPr>
            </a:lvl1pPr>
          </a:lstStyle>
          <a:p>
            <a:r>
              <a:rPr lang="en-AU" noProof="0"/>
              <a:t>Icon</a:t>
            </a:r>
          </a:p>
        </p:txBody>
      </p:sp>
      <p:sp>
        <p:nvSpPr>
          <p:cNvPr id="7" name="Text Placeholder 32">
            <a:extLst>
              <a:ext uri="{FF2B5EF4-FFF2-40B4-BE49-F238E27FC236}">
                <a16:creationId xmlns:a16="http://schemas.microsoft.com/office/drawing/2014/main" id="{FCF073A7-F716-0C79-7CEF-93CBDAB3FF3C}"/>
              </a:ext>
            </a:extLst>
          </p:cNvPr>
          <p:cNvSpPr>
            <a:spLocks noGrp="1"/>
          </p:cNvSpPr>
          <p:nvPr>
            <p:ph type="body" sz="quarter" idx="19" hasCustomPrompt="1"/>
          </p:nvPr>
        </p:nvSpPr>
        <p:spPr>
          <a:xfrm>
            <a:off x="896101" y="4105086"/>
            <a:ext cx="1548308" cy="532267"/>
          </a:xfrm>
          <a:prstGeom prst="rect">
            <a:avLst/>
          </a:prstGeom>
        </p:spPr>
        <p:txBody>
          <a:bodyPr/>
          <a:lstStyle>
            <a:lvl1pPr algn="ctr" rtl="0">
              <a:defRPr sz="1231"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10" name="Picture Placeholder 20">
            <a:extLst>
              <a:ext uri="{FF2B5EF4-FFF2-40B4-BE49-F238E27FC236}">
                <a16:creationId xmlns:a16="http://schemas.microsoft.com/office/drawing/2014/main" id="{8AA525D9-803D-305C-6733-853AFEE045E6}"/>
              </a:ext>
            </a:extLst>
          </p:cNvPr>
          <p:cNvSpPr>
            <a:spLocks noGrp="1"/>
          </p:cNvSpPr>
          <p:nvPr>
            <p:ph type="pic" sz="quarter" idx="20" hasCustomPrompt="1"/>
          </p:nvPr>
        </p:nvSpPr>
        <p:spPr>
          <a:xfrm>
            <a:off x="3834143" y="3146069"/>
            <a:ext cx="582837" cy="595250"/>
          </a:xfrm>
          <a:prstGeom prst="rect">
            <a:avLst/>
          </a:prstGeom>
        </p:spPr>
        <p:txBody>
          <a:bodyPr/>
          <a:lstStyle>
            <a:lvl1pPr algn="ctr" rtl="0">
              <a:defRPr sz="1641" b="0" baseline="0">
                <a:solidFill>
                  <a:schemeClr val="bg2"/>
                </a:solidFill>
              </a:defRPr>
            </a:lvl1pPr>
          </a:lstStyle>
          <a:p>
            <a:r>
              <a:rPr lang="en-AU" noProof="0"/>
              <a:t>Icon</a:t>
            </a:r>
          </a:p>
        </p:txBody>
      </p:sp>
      <p:sp>
        <p:nvSpPr>
          <p:cNvPr id="11" name="Text Placeholder 32">
            <a:extLst>
              <a:ext uri="{FF2B5EF4-FFF2-40B4-BE49-F238E27FC236}">
                <a16:creationId xmlns:a16="http://schemas.microsoft.com/office/drawing/2014/main" id="{C238AC29-D09C-3123-2B79-CA6819FF6B6E}"/>
              </a:ext>
            </a:extLst>
          </p:cNvPr>
          <p:cNvSpPr>
            <a:spLocks noGrp="1"/>
          </p:cNvSpPr>
          <p:nvPr>
            <p:ph type="body" sz="quarter" idx="21" hasCustomPrompt="1"/>
          </p:nvPr>
        </p:nvSpPr>
        <p:spPr>
          <a:xfrm>
            <a:off x="3351407" y="4105086"/>
            <a:ext cx="1548308" cy="532267"/>
          </a:xfrm>
          <a:prstGeom prst="rect">
            <a:avLst/>
          </a:prstGeom>
        </p:spPr>
        <p:txBody>
          <a:bodyPr/>
          <a:lstStyle>
            <a:lvl1pPr algn="ctr" rtl="0">
              <a:defRPr sz="1231"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14" name="Picture Placeholder 20">
            <a:extLst>
              <a:ext uri="{FF2B5EF4-FFF2-40B4-BE49-F238E27FC236}">
                <a16:creationId xmlns:a16="http://schemas.microsoft.com/office/drawing/2014/main" id="{C84A464B-6E33-4470-1DE9-7E621A9DFBA1}"/>
              </a:ext>
            </a:extLst>
          </p:cNvPr>
          <p:cNvSpPr>
            <a:spLocks noGrp="1"/>
          </p:cNvSpPr>
          <p:nvPr>
            <p:ph type="pic" sz="quarter" idx="22" hasCustomPrompt="1"/>
          </p:nvPr>
        </p:nvSpPr>
        <p:spPr>
          <a:xfrm>
            <a:off x="6257710" y="3146069"/>
            <a:ext cx="582837" cy="595250"/>
          </a:xfrm>
          <a:prstGeom prst="rect">
            <a:avLst/>
          </a:prstGeom>
        </p:spPr>
        <p:txBody>
          <a:bodyPr/>
          <a:lstStyle>
            <a:lvl1pPr algn="ctr" rtl="0">
              <a:defRPr sz="1641" b="0" baseline="0">
                <a:solidFill>
                  <a:schemeClr val="bg2"/>
                </a:solidFill>
              </a:defRPr>
            </a:lvl1pPr>
          </a:lstStyle>
          <a:p>
            <a:r>
              <a:rPr lang="en-AU" noProof="0"/>
              <a:t>Icon</a:t>
            </a:r>
          </a:p>
        </p:txBody>
      </p:sp>
      <p:sp>
        <p:nvSpPr>
          <p:cNvPr id="15" name="Text Placeholder 32">
            <a:extLst>
              <a:ext uri="{FF2B5EF4-FFF2-40B4-BE49-F238E27FC236}">
                <a16:creationId xmlns:a16="http://schemas.microsoft.com/office/drawing/2014/main" id="{31D0A761-4EA3-A1A3-24A7-B2429F95C499}"/>
              </a:ext>
            </a:extLst>
          </p:cNvPr>
          <p:cNvSpPr>
            <a:spLocks noGrp="1"/>
          </p:cNvSpPr>
          <p:nvPr>
            <p:ph type="body" sz="quarter" idx="23" hasCustomPrompt="1"/>
          </p:nvPr>
        </p:nvSpPr>
        <p:spPr>
          <a:xfrm>
            <a:off x="5774973" y="4105086"/>
            <a:ext cx="1548308" cy="532267"/>
          </a:xfrm>
          <a:prstGeom prst="rect">
            <a:avLst/>
          </a:prstGeom>
        </p:spPr>
        <p:txBody>
          <a:bodyPr/>
          <a:lstStyle>
            <a:lvl1pPr algn="ctr" rtl="0">
              <a:defRPr sz="1231"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16" name="Picture Placeholder 20">
            <a:extLst>
              <a:ext uri="{FF2B5EF4-FFF2-40B4-BE49-F238E27FC236}">
                <a16:creationId xmlns:a16="http://schemas.microsoft.com/office/drawing/2014/main" id="{D560AF64-8EBF-EC5F-0319-C02F39B38553}"/>
              </a:ext>
            </a:extLst>
          </p:cNvPr>
          <p:cNvSpPr>
            <a:spLocks noGrp="1"/>
          </p:cNvSpPr>
          <p:nvPr>
            <p:ph type="pic" sz="quarter" idx="31" hasCustomPrompt="1"/>
          </p:nvPr>
        </p:nvSpPr>
        <p:spPr>
          <a:xfrm>
            <a:off x="8713016" y="3146069"/>
            <a:ext cx="582837" cy="595250"/>
          </a:xfrm>
          <a:prstGeom prst="rect">
            <a:avLst/>
          </a:prstGeom>
        </p:spPr>
        <p:txBody>
          <a:bodyPr/>
          <a:lstStyle>
            <a:lvl1pPr algn="ctr" rtl="0">
              <a:defRPr sz="1641" b="0" baseline="0">
                <a:solidFill>
                  <a:schemeClr val="bg2"/>
                </a:solidFill>
              </a:defRPr>
            </a:lvl1pPr>
          </a:lstStyle>
          <a:p>
            <a:r>
              <a:rPr lang="en-AU" noProof="0"/>
              <a:t>Icon</a:t>
            </a:r>
          </a:p>
        </p:txBody>
      </p:sp>
      <p:sp>
        <p:nvSpPr>
          <p:cNvPr id="17" name="Text Placeholder 32">
            <a:extLst>
              <a:ext uri="{FF2B5EF4-FFF2-40B4-BE49-F238E27FC236}">
                <a16:creationId xmlns:a16="http://schemas.microsoft.com/office/drawing/2014/main" id="{74D6D77E-AA75-6DAC-24ED-4E59CB3EF588}"/>
              </a:ext>
            </a:extLst>
          </p:cNvPr>
          <p:cNvSpPr>
            <a:spLocks noGrp="1"/>
          </p:cNvSpPr>
          <p:nvPr>
            <p:ph type="body" sz="quarter" idx="32" hasCustomPrompt="1"/>
          </p:nvPr>
        </p:nvSpPr>
        <p:spPr>
          <a:xfrm>
            <a:off x="8230279" y="4105086"/>
            <a:ext cx="1548308" cy="532267"/>
          </a:xfrm>
          <a:prstGeom prst="rect">
            <a:avLst/>
          </a:prstGeom>
        </p:spPr>
        <p:txBody>
          <a:bodyPr/>
          <a:lstStyle>
            <a:lvl1pPr algn="ctr" rtl="0">
              <a:defRPr sz="1231" b="1">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Tree>
    <p:extLst>
      <p:ext uri="{BB962C8B-B14F-4D97-AF65-F5344CB8AC3E}">
        <p14:creationId xmlns:p14="http://schemas.microsoft.com/office/powerpoint/2010/main" val="38192849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 panel_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45983522"/>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sp>
        <p:nvSpPr>
          <p:cNvPr id="13" name="Rectangle 12"/>
          <p:cNvSpPr/>
          <p:nvPr userDrawn="1"/>
        </p:nvSpPr>
        <p:spPr>
          <a:xfrm>
            <a:off x="1" y="1701432"/>
            <a:ext cx="10691813" cy="52629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ext Placeholder 2">
            <a:extLst>
              <a:ext uri="{FF2B5EF4-FFF2-40B4-BE49-F238E27FC236}">
                <a16:creationId xmlns:a16="http://schemas.microsoft.com/office/drawing/2014/main" id="{1B436D51-F24F-B66F-20F9-ADDDCE108993}"/>
              </a:ext>
            </a:extLst>
          </p:cNvPr>
          <p:cNvSpPr>
            <a:spLocks noGrp="1"/>
          </p:cNvSpPr>
          <p:nvPr>
            <p:ph type="body" sz="quarter" idx="10" hasCustomPrompt="1"/>
          </p:nvPr>
        </p:nvSpPr>
        <p:spPr>
          <a:xfrm>
            <a:off x="582837" y="7043792"/>
            <a:ext cx="9325385" cy="330735"/>
          </a:xfrm>
        </p:spPr>
        <p:txBody>
          <a:bodyPr anchor="ctr"/>
          <a:lstStyle>
            <a:lvl1pPr rtl="0">
              <a:defRPr sz="820">
                <a:solidFill>
                  <a:schemeClr val="tx1"/>
                </a:solidFill>
              </a:defRPr>
            </a:lvl1pPr>
          </a:lstStyle>
          <a:p>
            <a:pPr lvl="0"/>
            <a:r>
              <a:rPr lang="en-AU" noProof="0"/>
              <a:t>Source</a:t>
            </a:r>
          </a:p>
        </p:txBody>
      </p:sp>
      <p:sp>
        <p:nvSpPr>
          <p:cNvPr id="5" name="Title 1">
            <a:extLst>
              <a:ext uri="{FF2B5EF4-FFF2-40B4-BE49-F238E27FC236}">
                <a16:creationId xmlns:a16="http://schemas.microsoft.com/office/drawing/2014/main" id="{130CF068-8A57-258C-A1D0-6C45F8B79835}"/>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8" name="TextBox 7">
            <a:extLst>
              <a:ext uri="{FF2B5EF4-FFF2-40B4-BE49-F238E27FC236}">
                <a16:creationId xmlns:a16="http://schemas.microsoft.com/office/drawing/2014/main" id="{392121A4-6F50-152A-A800-6065B6C2CD01}"/>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5">
            <a:extLst>
              <a:ext uri="{FF2B5EF4-FFF2-40B4-BE49-F238E27FC236}">
                <a16:creationId xmlns:a16="http://schemas.microsoft.com/office/drawing/2014/main" id="{C750C7A8-ED65-90AB-4409-E45723C432FF}"/>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6" name="Picture Placeholder 20">
            <a:extLst>
              <a:ext uri="{FF2B5EF4-FFF2-40B4-BE49-F238E27FC236}">
                <a16:creationId xmlns:a16="http://schemas.microsoft.com/office/drawing/2014/main" id="{240C4258-9F15-CFD5-3816-1814B919C46D}"/>
              </a:ext>
            </a:extLst>
          </p:cNvPr>
          <p:cNvSpPr>
            <a:spLocks noGrp="1"/>
          </p:cNvSpPr>
          <p:nvPr>
            <p:ph type="pic" sz="quarter" idx="15" hasCustomPrompt="1"/>
          </p:nvPr>
        </p:nvSpPr>
        <p:spPr>
          <a:xfrm>
            <a:off x="1378837" y="3146069"/>
            <a:ext cx="582837" cy="595250"/>
          </a:xfrm>
          <a:prstGeom prst="rect">
            <a:avLst/>
          </a:prstGeom>
        </p:spPr>
        <p:txBody>
          <a:bodyPr/>
          <a:lstStyle>
            <a:lvl1pPr rtl="0">
              <a:defRPr sz="1641" b="0" baseline="0">
                <a:solidFill>
                  <a:schemeClr val="bg1"/>
                </a:solidFill>
              </a:defRPr>
            </a:lvl1pPr>
          </a:lstStyle>
          <a:p>
            <a:r>
              <a:rPr lang="en-AU" noProof="0"/>
              <a:t>Icon</a:t>
            </a:r>
          </a:p>
        </p:txBody>
      </p:sp>
      <p:sp>
        <p:nvSpPr>
          <p:cNvPr id="7" name="Text Placeholder 32">
            <a:extLst>
              <a:ext uri="{FF2B5EF4-FFF2-40B4-BE49-F238E27FC236}">
                <a16:creationId xmlns:a16="http://schemas.microsoft.com/office/drawing/2014/main" id="{FCF073A7-F716-0C79-7CEF-93CBDAB3FF3C}"/>
              </a:ext>
            </a:extLst>
          </p:cNvPr>
          <p:cNvSpPr>
            <a:spLocks noGrp="1"/>
          </p:cNvSpPr>
          <p:nvPr>
            <p:ph type="body" sz="quarter" idx="19" hasCustomPrompt="1"/>
          </p:nvPr>
        </p:nvSpPr>
        <p:spPr>
          <a:xfrm>
            <a:off x="896101" y="4105086"/>
            <a:ext cx="1548308" cy="532267"/>
          </a:xfrm>
          <a:prstGeom prst="rect">
            <a:avLst/>
          </a:prstGeom>
        </p:spPr>
        <p:txBody>
          <a:bodyPr/>
          <a:lstStyle>
            <a:lvl1pPr algn="ctr" rtl="0">
              <a:defRPr sz="1231"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10" name="Picture Placeholder 20">
            <a:extLst>
              <a:ext uri="{FF2B5EF4-FFF2-40B4-BE49-F238E27FC236}">
                <a16:creationId xmlns:a16="http://schemas.microsoft.com/office/drawing/2014/main" id="{8AA525D9-803D-305C-6733-853AFEE045E6}"/>
              </a:ext>
            </a:extLst>
          </p:cNvPr>
          <p:cNvSpPr>
            <a:spLocks noGrp="1"/>
          </p:cNvSpPr>
          <p:nvPr>
            <p:ph type="pic" sz="quarter" idx="20" hasCustomPrompt="1"/>
          </p:nvPr>
        </p:nvSpPr>
        <p:spPr>
          <a:xfrm>
            <a:off x="3834143" y="3146069"/>
            <a:ext cx="582837" cy="595250"/>
          </a:xfrm>
          <a:prstGeom prst="rect">
            <a:avLst/>
          </a:prstGeom>
        </p:spPr>
        <p:txBody>
          <a:bodyPr/>
          <a:lstStyle>
            <a:lvl1pPr rtl="0">
              <a:defRPr sz="1641" b="0" baseline="0">
                <a:solidFill>
                  <a:schemeClr val="bg1"/>
                </a:solidFill>
              </a:defRPr>
            </a:lvl1pPr>
          </a:lstStyle>
          <a:p>
            <a:r>
              <a:rPr lang="en-AU" noProof="0"/>
              <a:t>Icon</a:t>
            </a:r>
          </a:p>
        </p:txBody>
      </p:sp>
      <p:sp>
        <p:nvSpPr>
          <p:cNvPr id="11" name="Text Placeholder 32">
            <a:extLst>
              <a:ext uri="{FF2B5EF4-FFF2-40B4-BE49-F238E27FC236}">
                <a16:creationId xmlns:a16="http://schemas.microsoft.com/office/drawing/2014/main" id="{C238AC29-D09C-3123-2B79-CA6819FF6B6E}"/>
              </a:ext>
            </a:extLst>
          </p:cNvPr>
          <p:cNvSpPr>
            <a:spLocks noGrp="1"/>
          </p:cNvSpPr>
          <p:nvPr>
            <p:ph type="body" sz="quarter" idx="21" hasCustomPrompt="1"/>
          </p:nvPr>
        </p:nvSpPr>
        <p:spPr>
          <a:xfrm>
            <a:off x="3351407" y="4105086"/>
            <a:ext cx="1548308" cy="532267"/>
          </a:xfrm>
          <a:prstGeom prst="rect">
            <a:avLst/>
          </a:prstGeom>
        </p:spPr>
        <p:txBody>
          <a:bodyPr/>
          <a:lstStyle>
            <a:lvl1pPr algn="ctr" rtl="0">
              <a:defRPr sz="1231"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14" name="Picture Placeholder 20">
            <a:extLst>
              <a:ext uri="{FF2B5EF4-FFF2-40B4-BE49-F238E27FC236}">
                <a16:creationId xmlns:a16="http://schemas.microsoft.com/office/drawing/2014/main" id="{C84A464B-6E33-4470-1DE9-7E621A9DFBA1}"/>
              </a:ext>
            </a:extLst>
          </p:cNvPr>
          <p:cNvSpPr>
            <a:spLocks noGrp="1"/>
          </p:cNvSpPr>
          <p:nvPr>
            <p:ph type="pic" sz="quarter" idx="22" hasCustomPrompt="1"/>
          </p:nvPr>
        </p:nvSpPr>
        <p:spPr>
          <a:xfrm>
            <a:off x="6257710" y="3146069"/>
            <a:ext cx="582837" cy="595250"/>
          </a:xfrm>
          <a:prstGeom prst="rect">
            <a:avLst/>
          </a:prstGeom>
        </p:spPr>
        <p:txBody>
          <a:bodyPr/>
          <a:lstStyle>
            <a:lvl1pPr rtl="0">
              <a:defRPr sz="1641" b="0" baseline="0">
                <a:solidFill>
                  <a:schemeClr val="bg1"/>
                </a:solidFill>
              </a:defRPr>
            </a:lvl1pPr>
          </a:lstStyle>
          <a:p>
            <a:r>
              <a:rPr lang="en-AU" noProof="0"/>
              <a:t>Icon</a:t>
            </a:r>
          </a:p>
        </p:txBody>
      </p:sp>
      <p:sp>
        <p:nvSpPr>
          <p:cNvPr id="15" name="Text Placeholder 32">
            <a:extLst>
              <a:ext uri="{FF2B5EF4-FFF2-40B4-BE49-F238E27FC236}">
                <a16:creationId xmlns:a16="http://schemas.microsoft.com/office/drawing/2014/main" id="{31D0A761-4EA3-A1A3-24A7-B2429F95C499}"/>
              </a:ext>
            </a:extLst>
          </p:cNvPr>
          <p:cNvSpPr>
            <a:spLocks noGrp="1"/>
          </p:cNvSpPr>
          <p:nvPr>
            <p:ph type="body" sz="quarter" idx="23" hasCustomPrompt="1"/>
          </p:nvPr>
        </p:nvSpPr>
        <p:spPr>
          <a:xfrm>
            <a:off x="5774973" y="4105086"/>
            <a:ext cx="1548308" cy="532267"/>
          </a:xfrm>
          <a:prstGeom prst="rect">
            <a:avLst/>
          </a:prstGeom>
        </p:spPr>
        <p:txBody>
          <a:bodyPr/>
          <a:lstStyle>
            <a:lvl1pPr algn="ctr" rtl="0">
              <a:defRPr sz="1231"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16" name="Picture Placeholder 20">
            <a:extLst>
              <a:ext uri="{FF2B5EF4-FFF2-40B4-BE49-F238E27FC236}">
                <a16:creationId xmlns:a16="http://schemas.microsoft.com/office/drawing/2014/main" id="{D560AF64-8EBF-EC5F-0319-C02F39B38553}"/>
              </a:ext>
            </a:extLst>
          </p:cNvPr>
          <p:cNvSpPr>
            <a:spLocks noGrp="1"/>
          </p:cNvSpPr>
          <p:nvPr>
            <p:ph type="pic" sz="quarter" idx="31" hasCustomPrompt="1"/>
          </p:nvPr>
        </p:nvSpPr>
        <p:spPr>
          <a:xfrm>
            <a:off x="8713016" y="3146069"/>
            <a:ext cx="582837" cy="595250"/>
          </a:xfrm>
          <a:prstGeom prst="rect">
            <a:avLst/>
          </a:prstGeom>
        </p:spPr>
        <p:txBody>
          <a:bodyPr/>
          <a:lstStyle>
            <a:lvl1pPr rtl="0">
              <a:defRPr sz="1641" b="0" baseline="0">
                <a:solidFill>
                  <a:schemeClr val="bg1"/>
                </a:solidFill>
              </a:defRPr>
            </a:lvl1pPr>
          </a:lstStyle>
          <a:p>
            <a:r>
              <a:rPr lang="en-AU" noProof="0"/>
              <a:t>Icon</a:t>
            </a:r>
          </a:p>
        </p:txBody>
      </p:sp>
      <p:sp>
        <p:nvSpPr>
          <p:cNvPr id="17" name="Text Placeholder 32">
            <a:extLst>
              <a:ext uri="{FF2B5EF4-FFF2-40B4-BE49-F238E27FC236}">
                <a16:creationId xmlns:a16="http://schemas.microsoft.com/office/drawing/2014/main" id="{74D6D77E-AA75-6DAC-24ED-4E59CB3EF588}"/>
              </a:ext>
            </a:extLst>
          </p:cNvPr>
          <p:cNvSpPr>
            <a:spLocks noGrp="1"/>
          </p:cNvSpPr>
          <p:nvPr>
            <p:ph type="body" sz="quarter" idx="32" hasCustomPrompt="1"/>
          </p:nvPr>
        </p:nvSpPr>
        <p:spPr>
          <a:xfrm>
            <a:off x="8230279" y="4105086"/>
            <a:ext cx="1548308" cy="532267"/>
          </a:xfrm>
          <a:prstGeom prst="rect">
            <a:avLst/>
          </a:prstGeom>
        </p:spPr>
        <p:txBody>
          <a:bodyPr/>
          <a:lstStyle>
            <a:lvl1pPr algn="ctr" rtl="0">
              <a:defRPr sz="1231" b="1">
                <a:solidFill>
                  <a:schemeClr val="accent4"/>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Tree>
    <p:extLst>
      <p:ext uri="{BB962C8B-B14F-4D97-AF65-F5344CB8AC3E}">
        <p14:creationId xmlns:p14="http://schemas.microsoft.com/office/powerpoint/2010/main" val="7894829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31A682-A8F7-9FE3-B2CD-F4C28901C44F}"/>
              </a:ext>
            </a:extLst>
          </p:cNvPr>
          <p:cNvGraphicFramePr>
            <a:graphicFrameLocks noChangeAspect="1"/>
          </p:cNvGraphicFramePr>
          <p:nvPr userDrawn="1">
            <p:custDataLst>
              <p:tags r:id="rId1"/>
            </p:custDataLst>
            <p:extLst>
              <p:ext uri="{D42A27DB-BD31-4B8C-83A1-F6EECF244321}">
                <p14:modId xmlns:p14="http://schemas.microsoft.com/office/powerpoint/2010/main" val="222143573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4531A682-A8F7-9FE3-B2CD-F4C28901C44F}"/>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5290DD69-3297-4D7E-B2A2-52AA489956F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
        <p:nvSpPr>
          <p:cNvPr id="30" name="Rectangle 29">
            <a:extLst>
              <a:ext uri="{FF2B5EF4-FFF2-40B4-BE49-F238E27FC236}">
                <a16:creationId xmlns:a16="http://schemas.microsoft.com/office/drawing/2014/main" id="{ACE7A9CF-D06D-4817-8F67-C0A7B9694E6A}"/>
              </a:ext>
            </a:extLst>
          </p:cNvPr>
          <p:cNvSpPr/>
          <p:nvPr userDrawn="1"/>
        </p:nvSpPr>
        <p:spPr>
          <a:xfrm>
            <a:off x="31" y="119049"/>
            <a:ext cx="4879556" cy="74445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32" name="Picture Placeholder 2">
            <a:extLst>
              <a:ext uri="{FF2B5EF4-FFF2-40B4-BE49-F238E27FC236}">
                <a16:creationId xmlns:a16="http://schemas.microsoft.com/office/drawing/2014/main" id="{EBAA1BA9-9464-4B40-8F69-CFA23F72FCBB}"/>
              </a:ext>
            </a:extLst>
          </p:cNvPr>
          <p:cNvSpPr>
            <a:spLocks noGrp="1"/>
          </p:cNvSpPr>
          <p:nvPr>
            <p:ph type="pic" sz="quarter" idx="17" hasCustomPrompt="1"/>
          </p:nvPr>
        </p:nvSpPr>
        <p:spPr>
          <a:xfrm>
            <a:off x="582836" y="768803"/>
            <a:ext cx="582837" cy="595250"/>
          </a:xfrm>
          <a:prstGeom prst="rect">
            <a:avLst/>
          </a:prstGeom>
        </p:spPr>
        <p:txBody>
          <a:bodyPr/>
          <a:lstStyle>
            <a:lvl1pPr algn="ctr" rtl="0">
              <a:defRPr>
                <a:solidFill>
                  <a:schemeClr val="bg2"/>
                </a:solidFill>
              </a:defRPr>
            </a:lvl1pPr>
          </a:lstStyle>
          <a:p>
            <a:r>
              <a:rPr lang="en-AU" noProof="0"/>
              <a:t>Icon</a:t>
            </a:r>
          </a:p>
        </p:txBody>
      </p:sp>
      <p:sp>
        <p:nvSpPr>
          <p:cNvPr id="33" name="Picture Placeholder 2">
            <a:extLst>
              <a:ext uri="{FF2B5EF4-FFF2-40B4-BE49-F238E27FC236}">
                <a16:creationId xmlns:a16="http://schemas.microsoft.com/office/drawing/2014/main" id="{87D6FEEB-BAF1-4AAC-AAC2-51DAB90EAC0A}"/>
              </a:ext>
            </a:extLst>
          </p:cNvPr>
          <p:cNvSpPr>
            <a:spLocks noGrp="1"/>
          </p:cNvSpPr>
          <p:nvPr>
            <p:ph type="pic" sz="quarter" idx="18" hasCustomPrompt="1"/>
          </p:nvPr>
        </p:nvSpPr>
        <p:spPr>
          <a:xfrm>
            <a:off x="582836" y="3056663"/>
            <a:ext cx="582837" cy="595250"/>
          </a:xfrm>
          <a:prstGeom prst="rect">
            <a:avLst/>
          </a:prstGeom>
        </p:spPr>
        <p:txBody>
          <a:bodyPr/>
          <a:lstStyle>
            <a:lvl1pPr algn="ctr" rtl="0">
              <a:defRPr>
                <a:solidFill>
                  <a:schemeClr val="bg2"/>
                </a:solidFill>
              </a:defRPr>
            </a:lvl1pPr>
          </a:lstStyle>
          <a:p>
            <a:r>
              <a:rPr lang="en-AU" noProof="0"/>
              <a:t>Icon</a:t>
            </a:r>
          </a:p>
        </p:txBody>
      </p:sp>
      <p:sp>
        <p:nvSpPr>
          <p:cNvPr id="34" name="Picture Placeholder 2">
            <a:extLst>
              <a:ext uri="{FF2B5EF4-FFF2-40B4-BE49-F238E27FC236}">
                <a16:creationId xmlns:a16="http://schemas.microsoft.com/office/drawing/2014/main" id="{6DF1720F-F6E1-4701-BC48-D168DEDEC6B5}"/>
              </a:ext>
            </a:extLst>
          </p:cNvPr>
          <p:cNvSpPr>
            <a:spLocks noGrp="1"/>
          </p:cNvSpPr>
          <p:nvPr>
            <p:ph type="pic" sz="quarter" idx="19" hasCustomPrompt="1"/>
          </p:nvPr>
        </p:nvSpPr>
        <p:spPr>
          <a:xfrm>
            <a:off x="582836" y="5337244"/>
            <a:ext cx="582837" cy="595250"/>
          </a:xfrm>
          <a:prstGeom prst="rect">
            <a:avLst/>
          </a:prstGeom>
        </p:spPr>
        <p:txBody>
          <a:bodyPr/>
          <a:lstStyle>
            <a:lvl1pPr algn="ctr" rtl="0">
              <a:defRPr>
                <a:solidFill>
                  <a:schemeClr val="bg2"/>
                </a:solidFill>
              </a:defRPr>
            </a:lvl1pPr>
          </a:lstStyle>
          <a:p>
            <a:r>
              <a:rPr lang="en-AU" noProof="0"/>
              <a:t>Icon</a:t>
            </a:r>
          </a:p>
        </p:txBody>
      </p:sp>
      <p:sp>
        <p:nvSpPr>
          <p:cNvPr id="35" name="Text Placeholder 4">
            <a:extLst>
              <a:ext uri="{FF2B5EF4-FFF2-40B4-BE49-F238E27FC236}">
                <a16:creationId xmlns:a16="http://schemas.microsoft.com/office/drawing/2014/main" id="{4EFFFF6B-300C-4399-9C1E-291644E4B73D}"/>
              </a:ext>
            </a:extLst>
          </p:cNvPr>
          <p:cNvSpPr>
            <a:spLocks noGrp="1"/>
          </p:cNvSpPr>
          <p:nvPr>
            <p:ph type="body" sz="quarter" idx="20" hasCustomPrompt="1"/>
          </p:nvPr>
        </p:nvSpPr>
        <p:spPr>
          <a:xfrm>
            <a:off x="1554232" y="844640"/>
            <a:ext cx="2565007" cy="317467"/>
          </a:xfrm>
          <a:prstGeom prst="rect">
            <a:avLst/>
          </a:prstGeom>
        </p:spPr>
        <p:txBody>
          <a:bodyPr tIns="0"/>
          <a:lstStyle>
            <a:lvl1pPr rtl="0">
              <a:lnSpc>
                <a:spcPct val="90000"/>
              </a:lnSpc>
              <a:defRPr sz="1846">
                <a:solidFill>
                  <a:schemeClr val="tx2"/>
                </a:solidFill>
                <a:latin typeface="Segoe UI Semibold" panose="020B0702040204020203" pitchFamily="34" charset="0"/>
              </a:defRPr>
            </a:lvl1pPr>
          </a:lstStyle>
          <a:p>
            <a:pPr lvl="0"/>
            <a:r>
              <a:rPr lang="en-AU" noProof="0"/>
              <a:t>Title</a:t>
            </a:r>
          </a:p>
        </p:txBody>
      </p:sp>
      <p:sp>
        <p:nvSpPr>
          <p:cNvPr id="36" name="Text Placeholder 4">
            <a:extLst>
              <a:ext uri="{FF2B5EF4-FFF2-40B4-BE49-F238E27FC236}">
                <a16:creationId xmlns:a16="http://schemas.microsoft.com/office/drawing/2014/main" id="{686BB59F-3DEB-4D4D-BF54-1A737C292190}"/>
              </a:ext>
            </a:extLst>
          </p:cNvPr>
          <p:cNvSpPr>
            <a:spLocks noGrp="1"/>
          </p:cNvSpPr>
          <p:nvPr>
            <p:ph type="body" sz="quarter" idx="21" hasCustomPrompt="1"/>
          </p:nvPr>
        </p:nvSpPr>
        <p:spPr>
          <a:xfrm>
            <a:off x="1554232" y="1186208"/>
            <a:ext cx="2565007" cy="248452"/>
          </a:xfrm>
          <a:prstGeom prst="rect">
            <a:avLst/>
          </a:prstGeom>
        </p:spPr>
        <p:txBody>
          <a:bodyPr>
            <a:spAutoFit/>
          </a:bodyPr>
          <a:lstStyle>
            <a:lvl1pPr rtl="0">
              <a:lnSpc>
                <a:spcPct val="90000"/>
              </a:lnSpc>
              <a:defRPr sz="1127">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a:t>Sub title</a:t>
            </a:r>
          </a:p>
        </p:txBody>
      </p:sp>
      <p:sp>
        <p:nvSpPr>
          <p:cNvPr id="37" name="Text Placeholder 4">
            <a:extLst>
              <a:ext uri="{FF2B5EF4-FFF2-40B4-BE49-F238E27FC236}">
                <a16:creationId xmlns:a16="http://schemas.microsoft.com/office/drawing/2014/main" id="{D36ABD60-7CC8-4752-9380-6CE45232D1AA}"/>
              </a:ext>
            </a:extLst>
          </p:cNvPr>
          <p:cNvSpPr>
            <a:spLocks noGrp="1"/>
          </p:cNvSpPr>
          <p:nvPr>
            <p:ph type="body" sz="quarter" idx="22" hasCustomPrompt="1"/>
          </p:nvPr>
        </p:nvSpPr>
        <p:spPr>
          <a:xfrm>
            <a:off x="1554232" y="3135928"/>
            <a:ext cx="2565007" cy="317467"/>
          </a:xfrm>
          <a:prstGeom prst="rect">
            <a:avLst/>
          </a:prstGeom>
        </p:spPr>
        <p:txBody>
          <a:bodyPr tIns="0"/>
          <a:lstStyle>
            <a:lvl1pPr rtl="0">
              <a:lnSpc>
                <a:spcPct val="90000"/>
              </a:lnSpc>
              <a:defRPr sz="1846">
                <a:solidFill>
                  <a:srgbClr val="2C71B5"/>
                </a:solidFill>
                <a:latin typeface="Segoe UI Semibold" panose="020B0702040204020203" pitchFamily="34" charset="0"/>
              </a:defRPr>
            </a:lvl1pPr>
          </a:lstStyle>
          <a:p>
            <a:pPr lvl="0"/>
            <a:r>
              <a:rPr lang="en-AU" noProof="0"/>
              <a:t>Title</a:t>
            </a:r>
          </a:p>
        </p:txBody>
      </p:sp>
      <p:sp>
        <p:nvSpPr>
          <p:cNvPr id="38" name="Text Placeholder 4">
            <a:extLst>
              <a:ext uri="{FF2B5EF4-FFF2-40B4-BE49-F238E27FC236}">
                <a16:creationId xmlns:a16="http://schemas.microsoft.com/office/drawing/2014/main" id="{214F44A2-7912-43A3-BB09-5AC938689DC8}"/>
              </a:ext>
            </a:extLst>
          </p:cNvPr>
          <p:cNvSpPr>
            <a:spLocks noGrp="1"/>
          </p:cNvSpPr>
          <p:nvPr>
            <p:ph type="body" sz="quarter" idx="23" hasCustomPrompt="1"/>
          </p:nvPr>
        </p:nvSpPr>
        <p:spPr>
          <a:xfrm>
            <a:off x="1554232" y="3473960"/>
            <a:ext cx="2565007" cy="248452"/>
          </a:xfrm>
          <a:prstGeom prst="rect">
            <a:avLst/>
          </a:prstGeom>
        </p:spPr>
        <p:txBody>
          <a:bodyPr>
            <a:spAutoFit/>
          </a:bodyPr>
          <a:lstStyle>
            <a:lvl1pPr rtl="0">
              <a:lnSpc>
                <a:spcPct val="90000"/>
              </a:lnSpc>
              <a:defRPr sz="1127">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a:t>Sub title</a:t>
            </a:r>
          </a:p>
        </p:txBody>
      </p:sp>
      <p:sp>
        <p:nvSpPr>
          <p:cNvPr id="39" name="Text Placeholder 4">
            <a:extLst>
              <a:ext uri="{FF2B5EF4-FFF2-40B4-BE49-F238E27FC236}">
                <a16:creationId xmlns:a16="http://schemas.microsoft.com/office/drawing/2014/main" id="{59A0366D-9852-453C-A651-D70B42BA5350}"/>
              </a:ext>
            </a:extLst>
          </p:cNvPr>
          <p:cNvSpPr>
            <a:spLocks noGrp="1"/>
          </p:cNvSpPr>
          <p:nvPr>
            <p:ph type="body" sz="quarter" idx="24" hasCustomPrompt="1"/>
          </p:nvPr>
        </p:nvSpPr>
        <p:spPr>
          <a:xfrm>
            <a:off x="1554232" y="5416618"/>
            <a:ext cx="2565007" cy="317467"/>
          </a:xfrm>
          <a:prstGeom prst="rect">
            <a:avLst/>
          </a:prstGeom>
        </p:spPr>
        <p:txBody>
          <a:bodyPr tIns="0"/>
          <a:lstStyle>
            <a:lvl1pPr rtl="0">
              <a:lnSpc>
                <a:spcPct val="90000"/>
              </a:lnSpc>
              <a:defRPr sz="1846">
                <a:solidFill>
                  <a:schemeClr val="accent6"/>
                </a:solidFill>
                <a:latin typeface="Segoe UI Semibold" panose="020B0702040204020203" pitchFamily="34" charset="0"/>
              </a:defRPr>
            </a:lvl1pPr>
          </a:lstStyle>
          <a:p>
            <a:pPr lvl="0"/>
            <a:r>
              <a:rPr lang="en-AU" noProof="0"/>
              <a:t>Title</a:t>
            </a:r>
          </a:p>
        </p:txBody>
      </p:sp>
      <p:sp>
        <p:nvSpPr>
          <p:cNvPr id="40" name="Text Placeholder 4">
            <a:extLst>
              <a:ext uri="{FF2B5EF4-FFF2-40B4-BE49-F238E27FC236}">
                <a16:creationId xmlns:a16="http://schemas.microsoft.com/office/drawing/2014/main" id="{54273100-1030-4283-AD9F-E21BC7EF41A3}"/>
              </a:ext>
            </a:extLst>
          </p:cNvPr>
          <p:cNvSpPr>
            <a:spLocks noGrp="1"/>
          </p:cNvSpPr>
          <p:nvPr>
            <p:ph type="body" sz="quarter" idx="25" hasCustomPrompt="1"/>
          </p:nvPr>
        </p:nvSpPr>
        <p:spPr>
          <a:xfrm>
            <a:off x="1554232" y="5754649"/>
            <a:ext cx="2565007" cy="248452"/>
          </a:xfrm>
          <a:prstGeom prst="rect">
            <a:avLst/>
          </a:prstGeom>
        </p:spPr>
        <p:txBody>
          <a:bodyPr>
            <a:spAutoFit/>
          </a:bodyPr>
          <a:lstStyle>
            <a:lvl1pPr rtl="0">
              <a:lnSpc>
                <a:spcPct val="90000"/>
              </a:lnSpc>
              <a:defRPr sz="1127">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a:t>Sub title</a:t>
            </a:r>
          </a:p>
        </p:txBody>
      </p:sp>
      <p:sp>
        <p:nvSpPr>
          <p:cNvPr id="41" name="Text Placeholder 7">
            <a:extLst>
              <a:ext uri="{FF2B5EF4-FFF2-40B4-BE49-F238E27FC236}">
                <a16:creationId xmlns:a16="http://schemas.microsoft.com/office/drawing/2014/main" id="{5361D9FD-8596-4276-B9BB-90F822343285}"/>
              </a:ext>
            </a:extLst>
          </p:cNvPr>
          <p:cNvSpPr>
            <a:spLocks noGrp="1"/>
          </p:cNvSpPr>
          <p:nvPr>
            <p:ph type="body" sz="quarter" idx="16"/>
          </p:nvPr>
        </p:nvSpPr>
        <p:spPr>
          <a:xfrm>
            <a:off x="5345549" y="844640"/>
            <a:ext cx="4763427" cy="1142613"/>
          </a:xfrm>
          <a:prstGeom prst="rect">
            <a:avLst/>
          </a:prstGeom>
        </p:spPr>
        <p:txBody>
          <a:bodyPr wrap="square" tIns="0" anchor="t">
            <a:spAutoFit/>
          </a:bodyPr>
          <a:lstStyle>
            <a:lvl1pPr rtl="0">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42" name="Text Placeholder 7">
            <a:extLst>
              <a:ext uri="{FF2B5EF4-FFF2-40B4-BE49-F238E27FC236}">
                <a16:creationId xmlns:a16="http://schemas.microsoft.com/office/drawing/2014/main" id="{A69B8AF3-1E09-4B0D-B538-5188AAE0DFA3}"/>
              </a:ext>
            </a:extLst>
          </p:cNvPr>
          <p:cNvSpPr>
            <a:spLocks noGrp="1"/>
          </p:cNvSpPr>
          <p:nvPr>
            <p:ph type="body" sz="quarter" idx="26"/>
          </p:nvPr>
        </p:nvSpPr>
        <p:spPr>
          <a:xfrm>
            <a:off x="5345549" y="3209221"/>
            <a:ext cx="4763427" cy="1142613"/>
          </a:xfrm>
          <a:prstGeom prst="rect">
            <a:avLst/>
          </a:prstGeom>
        </p:spPr>
        <p:txBody>
          <a:bodyPr wrap="square" tIns="0" anchor="ctr" anchorCtr="0">
            <a:spAutoFit/>
          </a:bodyPr>
          <a:lstStyle>
            <a:lvl1pPr rtl="0">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43" name="Text Placeholder 7">
            <a:extLst>
              <a:ext uri="{FF2B5EF4-FFF2-40B4-BE49-F238E27FC236}">
                <a16:creationId xmlns:a16="http://schemas.microsoft.com/office/drawing/2014/main" id="{F2B74739-E35F-478A-BC9D-502A47B5CA0D}"/>
              </a:ext>
            </a:extLst>
          </p:cNvPr>
          <p:cNvSpPr>
            <a:spLocks noGrp="1"/>
          </p:cNvSpPr>
          <p:nvPr>
            <p:ph type="body" sz="quarter" idx="27"/>
          </p:nvPr>
        </p:nvSpPr>
        <p:spPr>
          <a:xfrm>
            <a:off x="5345549" y="5489912"/>
            <a:ext cx="4763427" cy="1142613"/>
          </a:xfrm>
          <a:prstGeom prst="rect">
            <a:avLst/>
          </a:prstGeom>
        </p:spPr>
        <p:txBody>
          <a:bodyPr wrap="square" tIns="0" anchor="ctr" anchorCtr="0">
            <a:spAutoFit/>
          </a:bodyPr>
          <a:lstStyle>
            <a:lvl1pPr rtl="0">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A9FE430D-E9DB-5531-861C-7BA0A5DD92BB}"/>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838747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31A682-A8F7-9FE3-B2CD-F4C28901C44F}"/>
              </a:ext>
            </a:extLst>
          </p:cNvPr>
          <p:cNvGraphicFramePr>
            <a:graphicFrameLocks noChangeAspect="1"/>
          </p:cNvGraphicFramePr>
          <p:nvPr userDrawn="1">
            <p:custDataLst>
              <p:tags r:id="rId1"/>
            </p:custDataLst>
            <p:extLst>
              <p:ext uri="{D42A27DB-BD31-4B8C-83A1-F6EECF244321}">
                <p14:modId xmlns:p14="http://schemas.microsoft.com/office/powerpoint/2010/main" val="413468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4531A682-A8F7-9FE3-B2CD-F4C28901C44F}"/>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5290DD69-3297-4D7E-B2A2-52AA489956F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
        <p:nvSpPr>
          <p:cNvPr id="30" name="Rectangle 29">
            <a:extLst>
              <a:ext uri="{FF2B5EF4-FFF2-40B4-BE49-F238E27FC236}">
                <a16:creationId xmlns:a16="http://schemas.microsoft.com/office/drawing/2014/main" id="{ACE7A9CF-D06D-4817-8F67-C0A7B9694E6A}"/>
              </a:ext>
            </a:extLst>
          </p:cNvPr>
          <p:cNvSpPr/>
          <p:nvPr userDrawn="1"/>
        </p:nvSpPr>
        <p:spPr>
          <a:xfrm>
            <a:off x="31" y="119049"/>
            <a:ext cx="4879556" cy="74445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32" name="Picture Placeholder 2">
            <a:extLst>
              <a:ext uri="{FF2B5EF4-FFF2-40B4-BE49-F238E27FC236}">
                <a16:creationId xmlns:a16="http://schemas.microsoft.com/office/drawing/2014/main" id="{EBAA1BA9-9464-4B40-8F69-CFA23F72FCBB}"/>
              </a:ext>
            </a:extLst>
          </p:cNvPr>
          <p:cNvSpPr>
            <a:spLocks noGrp="1"/>
          </p:cNvSpPr>
          <p:nvPr>
            <p:ph type="pic" sz="quarter" idx="17" hasCustomPrompt="1"/>
          </p:nvPr>
        </p:nvSpPr>
        <p:spPr>
          <a:xfrm>
            <a:off x="582836" y="768803"/>
            <a:ext cx="582837" cy="595250"/>
          </a:xfrm>
          <a:prstGeom prst="rect">
            <a:avLst/>
          </a:prstGeom>
        </p:spPr>
        <p:txBody>
          <a:bodyPr/>
          <a:lstStyle>
            <a:lvl1pPr algn="ctr" rtl="0">
              <a:defRPr>
                <a:solidFill>
                  <a:schemeClr val="bg1"/>
                </a:solidFill>
              </a:defRPr>
            </a:lvl1pPr>
          </a:lstStyle>
          <a:p>
            <a:r>
              <a:rPr lang="en-AU" noProof="0"/>
              <a:t>Icon</a:t>
            </a:r>
          </a:p>
        </p:txBody>
      </p:sp>
      <p:sp>
        <p:nvSpPr>
          <p:cNvPr id="33" name="Picture Placeholder 2">
            <a:extLst>
              <a:ext uri="{FF2B5EF4-FFF2-40B4-BE49-F238E27FC236}">
                <a16:creationId xmlns:a16="http://schemas.microsoft.com/office/drawing/2014/main" id="{87D6FEEB-BAF1-4AAC-AAC2-51DAB90EAC0A}"/>
              </a:ext>
            </a:extLst>
          </p:cNvPr>
          <p:cNvSpPr>
            <a:spLocks noGrp="1"/>
          </p:cNvSpPr>
          <p:nvPr>
            <p:ph type="pic" sz="quarter" idx="18" hasCustomPrompt="1"/>
          </p:nvPr>
        </p:nvSpPr>
        <p:spPr>
          <a:xfrm>
            <a:off x="582836" y="3056663"/>
            <a:ext cx="582837" cy="595250"/>
          </a:xfrm>
          <a:prstGeom prst="rect">
            <a:avLst/>
          </a:prstGeom>
        </p:spPr>
        <p:txBody>
          <a:bodyPr/>
          <a:lstStyle>
            <a:lvl1pPr algn="ctr" rtl="0">
              <a:defRPr>
                <a:solidFill>
                  <a:schemeClr val="bg1"/>
                </a:solidFill>
              </a:defRPr>
            </a:lvl1pPr>
          </a:lstStyle>
          <a:p>
            <a:r>
              <a:rPr lang="en-AU" noProof="0"/>
              <a:t>Icon</a:t>
            </a:r>
          </a:p>
        </p:txBody>
      </p:sp>
      <p:sp>
        <p:nvSpPr>
          <p:cNvPr id="34" name="Picture Placeholder 2">
            <a:extLst>
              <a:ext uri="{FF2B5EF4-FFF2-40B4-BE49-F238E27FC236}">
                <a16:creationId xmlns:a16="http://schemas.microsoft.com/office/drawing/2014/main" id="{6DF1720F-F6E1-4701-BC48-D168DEDEC6B5}"/>
              </a:ext>
            </a:extLst>
          </p:cNvPr>
          <p:cNvSpPr>
            <a:spLocks noGrp="1"/>
          </p:cNvSpPr>
          <p:nvPr>
            <p:ph type="pic" sz="quarter" idx="19" hasCustomPrompt="1"/>
          </p:nvPr>
        </p:nvSpPr>
        <p:spPr>
          <a:xfrm>
            <a:off x="582836" y="5337244"/>
            <a:ext cx="582837" cy="595250"/>
          </a:xfrm>
          <a:prstGeom prst="rect">
            <a:avLst/>
          </a:prstGeom>
        </p:spPr>
        <p:txBody>
          <a:bodyPr/>
          <a:lstStyle>
            <a:lvl1pPr algn="ctr" rtl="0">
              <a:defRPr>
                <a:solidFill>
                  <a:schemeClr val="bg1"/>
                </a:solidFill>
              </a:defRPr>
            </a:lvl1pPr>
          </a:lstStyle>
          <a:p>
            <a:r>
              <a:rPr lang="en-AU" noProof="0"/>
              <a:t>Icon</a:t>
            </a:r>
          </a:p>
        </p:txBody>
      </p:sp>
      <p:sp>
        <p:nvSpPr>
          <p:cNvPr id="35" name="Text Placeholder 4">
            <a:extLst>
              <a:ext uri="{FF2B5EF4-FFF2-40B4-BE49-F238E27FC236}">
                <a16:creationId xmlns:a16="http://schemas.microsoft.com/office/drawing/2014/main" id="{4EFFFF6B-300C-4399-9C1E-291644E4B73D}"/>
              </a:ext>
            </a:extLst>
          </p:cNvPr>
          <p:cNvSpPr>
            <a:spLocks noGrp="1"/>
          </p:cNvSpPr>
          <p:nvPr>
            <p:ph type="body" sz="quarter" idx="20" hasCustomPrompt="1"/>
          </p:nvPr>
        </p:nvSpPr>
        <p:spPr>
          <a:xfrm>
            <a:off x="1554232" y="844640"/>
            <a:ext cx="2565007" cy="317467"/>
          </a:xfrm>
          <a:prstGeom prst="rect">
            <a:avLst/>
          </a:prstGeom>
        </p:spPr>
        <p:txBody>
          <a:bodyPr tIns="0"/>
          <a:lstStyle>
            <a:lvl1pPr rtl="0">
              <a:lnSpc>
                <a:spcPct val="90000"/>
              </a:lnSpc>
              <a:defRPr sz="1846">
                <a:solidFill>
                  <a:schemeClr val="accent2"/>
                </a:solidFill>
                <a:latin typeface="Segoe UI Semibold" panose="020B0702040204020203" pitchFamily="34" charset="0"/>
              </a:defRPr>
            </a:lvl1pPr>
          </a:lstStyle>
          <a:p>
            <a:pPr lvl="0"/>
            <a:r>
              <a:rPr lang="en-AU" noProof="0"/>
              <a:t>Title</a:t>
            </a:r>
          </a:p>
        </p:txBody>
      </p:sp>
      <p:sp>
        <p:nvSpPr>
          <p:cNvPr id="36" name="Text Placeholder 4">
            <a:extLst>
              <a:ext uri="{FF2B5EF4-FFF2-40B4-BE49-F238E27FC236}">
                <a16:creationId xmlns:a16="http://schemas.microsoft.com/office/drawing/2014/main" id="{686BB59F-3DEB-4D4D-BF54-1A737C292190}"/>
              </a:ext>
            </a:extLst>
          </p:cNvPr>
          <p:cNvSpPr>
            <a:spLocks noGrp="1"/>
          </p:cNvSpPr>
          <p:nvPr>
            <p:ph type="body" sz="quarter" idx="21" hasCustomPrompt="1"/>
          </p:nvPr>
        </p:nvSpPr>
        <p:spPr>
          <a:xfrm>
            <a:off x="1554232" y="1186208"/>
            <a:ext cx="2565007" cy="248452"/>
          </a:xfrm>
          <a:prstGeom prst="rect">
            <a:avLst/>
          </a:prstGeom>
        </p:spPr>
        <p:txBody>
          <a:bodyPr>
            <a:spAutoFit/>
          </a:bodyPr>
          <a:lstStyle>
            <a:lvl1pPr rtl="0">
              <a:lnSpc>
                <a:spcPct val="90000"/>
              </a:lnSpc>
              <a:defRPr sz="1127">
                <a:solidFill>
                  <a:schemeClr val="bg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a:t>Sub title</a:t>
            </a:r>
          </a:p>
        </p:txBody>
      </p:sp>
      <p:sp>
        <p:nvSpPr>
          <p:cNvPr id="37" name="Text Placeholder 4">
            <a:extLst>
              <a:ext uri="{FF2B5EF4-FFF2-40B4-BE49-F238E27FC236}">
                <a16:creationId xmlns:a16="http://schemas.microsoft.com/office/drawing/2014/main" id="{D36ABD60-7CC8-4752-9380-6CE45232D1AA}"/>
              </a:ext>
            </a:extLst>
          </p:cNvPr>
          <p:cNvSpPr>
            <a:spLocks noGrp="1"/>
          </p:cNvSpPr>
          <p:nvPr>
            <p:ph type="body" sz="quarter" idx="22" hasCustomPrompt="1"/>
          </p:nvPr>
        </p:nvSpPr>
        <p:spPr>
          <a:xfrm>
            <a:off x="1554232" y="3135928"/>
            <a:ext cx="2565007" cy="317467"/>
          </a:xfrm>
          <a:prstGeom prst="rect">
            <a:avLst/>
          </a:prstGeom>
        </p:spPr>
        <p:txBody>
          <a:bodyPr tIns="0"/>
          <a:lstStyle>
            <a:lvl1pPr rtl="0">
              <a:lnSpc>
                <a:spcPct val="90000"/>
              </a:lnSpc>
              <a:defRPr sz="1846">
                <a:solidFill>
                  <a:schemeClr val="accent3"/>
                </a:solidFill>
                <a:latin typeface="Segoe UI Semibold" panose="020B0702040204020203" pitchFamily="34" charset="0"/>
              </a:defRPr>
            </a:lvl1pPr>
          </a:lstStyle>
          <a:p>
            <a:pPr lvl="0"/>
            <a:r>
              <a:rPr lang="en-AU" noProof="0"/>
              <a:t>Title</a:t>
            </a:r>
          </a:p>
        </p:txBody>
      </p:sp>
      <p:sp>
        <p:nvSpPr>
          <p:cNvPr id="38" name="Text Placeholder 4">
            <a:extLst>
              <a:ext uri="{FF2B5EF4-FFF2-40B4-BE49-F238E27FC236}">
                <a16:creationId xmlns:a16="http://schemas.microsoft.com/office/drawing/2014/main" id="{214F44A2-7912-43A3-BB09-5AC938689DC8}"/>
              </a:ext>
            </a:extLst>
          </p:cNvPr>
          <p:cNvSpPr>
            <a:spLocks noGrp="1"/>
          </p:cNvSpPr>
          <p:nvPr>
            <p:ph type="body" sz="quarter" idx="23" hasCustomPrompt="1"/>
          </p:nvPr>
        </p:nvSpPr>
        <p:spPr>
          <a:xfrm>
            <a:off x="1554232" y="3473960"/>
            <a:ext cx="2565007" cy="248452"/>
          </a:xfrm>
          <a:prstGeom prst="rect">
            <a:avLst/>
          </a:prstGeom>
        </p:spPr>
        <p:txBody>
          <a:bodyPr>
            <a:spAutoFit/>
          </a:bodyPr>
          <a:lstStyle>
            <a:lvl1pPr rtl="0">
              <a:lnSpc>
                <a:spcPct val="90000"/>
              </a:lnSpc>
              <a:defRPr sz="1127">
                <a:solidFill>
                  <a:schemeClr val="bg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a:t>Sub title</a:t>
            </a:r>
          </a:p>
        </p:txBody>
      </p:sp>
      <p:sp>
        <p:nvSpPr>
          <p:cNvPr id="39" name="Text Placeholder 4">
            <a:extLst>
              <a:ext uri="{FF2B5EF4-FFF2-40B4-BE49-F238E27FC236}">
                <a16:creationId xmlns:a16="http://schemas.microsoft.com/office/drawing/2014/main" id="{59A0366D-9852-453C-A651-D70B42BA5350}"/>
              </a:ext>
            </a:extLst>
          </p:cNvPr>
          <p:cNvSpPr>
            <a:spLocks noGrp="1"/>
          </p:cNvSpPr>
          <p:nvPr>
            <p:ph type="body" sz="quarter" idx="24" hasCustomPrompt="1"/>
          </p:nvPr>
        </p:nvSpPr>
        <p:spPr>
          <a:xfrm>
            <a:off x="1554232" y="5416618"/>
            <a:ext cx="2565007" cy="317467"/>
          </a:xfrm>
          <a:prstGeom prst="rect">
            <a:avLst/>
          </a:prstGeom>
        </p:spPr>
        <p:txBody>
          <a:bodyPr tIns="0"/>
          <a:lstStyle>
            <a:lvl1pPr rtl="0">
              <a:lnSpc>
                <a:spcPct val="90000"/>
              </a:lnSpc>
              <a:defRPr sz="1846">
                <a:solidFill>
                  <a:schemeClr val="accent4"/>
                </a:solidFill>
                <a:latin typeface="Segoe UI Semibold" panose="020B0702040204020203" pitchFamily="34" charset="0"/>
              </a:defRPr>
            </a:lvl1pPr>
          </a:lstStyle>
          <a:p>
            <a:pPr lvl="0"/>
            <a:r>
              <a:rPr lang="en-AU" noProof="0"/>
              <a:t>Title</a:t>
            </a:r>
          </a:p>
        </p:txBody>
      </p:sp>
      <p:sp>
        <p:nvSpPr>
          <p:cNvPr id="40" name="Text Placeholder 4">
            <a:extLst>
              <a:ext uri="{FF2B5EF4-FFF2-40B4-BE49-F238E27FC236}">
                <a16:creationId xmlns:a16="http://schemas.microsoft.com/office/drawing/2014/main" id="{54273100-1030-4283-AD9F-E21BC7EF41A3}"/>
              </a:ext>
            </a:extLst>
          </p:cNvPr>
          <p:cNvSpPr>
            <a:spLocks noGrp="1"/>
          </p:cNvSpPr>
          <p:nvPr>
            <p:ph type="body" sz="quarter" idx="25" hasCustomPrompt="1"/>
          </p:nvPr>
        </p:nvSpPr>
        <p:spPr>
          <a:xfrm>
            <a:off x="1554232" y="5754649"/>
            <a:ext cx="2565007" cy="248452"/>
          </a:xfrm>
          <a:prstGeom prst="rect">
            <a:avLst/>
          </a:prstGeom>
        </p:spPr>
        <p:txBody>
          <a:bodyPr>
            <a:spAutoFit/>
          </a:bodyPr>
          <a:lstStyle>
            <a:lvl1pPr rtl="0">
              <a:lnSpc>
                <a:spcPct val="90000"/>
              </a:lnSpc>
              <a:defRPr sz="1127">
                <a:solidFill>
                  <a:schemeClr val="bg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a:t>Sub title</a:t>
            </a:r>
          </a:p>
        </p:txBody>
      </p:sp>
      <p:sp>
        <p:nvSpPr>
          <p:cNvPr id="41" name="Text Placeholder 7">
            <a:extLst>
              <a:ext uri="{FF2B5EF4-FFF2-40B4-BE49-F238E27FC236}">
                <a16:creationId xmlns:a16="http://schemas.microsoft.com/office/drawing/2014/main" id="{5361D9FD-8596-4276-B9BB-90F822343285}"/>
              </a:ext>
            </a:extLst>
          </p:cNvPr>
          <p:cNvSpPr>
            <a:spLocks noGrp="1"/>
          </p:cNvSpPr>
          <p:nvPr>
            <p:ph type="body" sz="quarter" idx="16"/>
          </p:nvPr>
        </p:nvSpPr>
        <p:spPr>
          <a:xfrm>
            <a:off x="5345549" y="844640"/>
            <a:ext cx="4763427" cy="1142613"/>
          </a:xfrm>
          <a:prstGeom prst="rect">
            <a:avLst/>
          </a:prstGeom>
        </p:spPr>
        <p:txBody>
          <a:bodyPr wrap="square" tIns="0" anchor="t">
            <a:spAutoFit/>
          </a:bodyPr>
          <a:lstStyle>
            <a:lvl1pPr rtl="0">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42" name="Text Placeholder 7">
            <a:extLst>
              <a:ext uri="{FF2B5EF4-FFF2-40B4-BE49-F238E27FC236}">
                <a16:creationId xmlns:a16="http://schemas.microsoft.com/office/drawing/2014/main" id="{A69B8AF3-1E09-4B0D-B538-5188AAE0DFA3}"/>
              </a:ext>
            </a:extLst>
          </p:cNvPr>
          <p:cNvSpPr>
            <a:spLocks noGrp="1"/>
          </p:cNvSpPr>
          <p:nvPr>
            <p:ph type="body" sz="quarter" idx="26"/>
          </p:nvPr>
        </p:nvSpPr>
        <p:spPr>
          <a:xfrm>
            <a:off x="5345549" y="3209221"/>
            <a:ext cx="4763427" cy="1142613"/>
          </a:xfrm>
          <a:prstGeom prst="rect">
            <a:avLst/>
          </a:prstGeom>
        </p:spPr>
        <p:txBody>
          <a:bodyPr wrap="square" tIns="0" anchor="ctr" anchorCtr="0">
            <a:spAutoFit/>
          </a:bodyPr>
          <a:lstStyle>
            <a:lvl1pPr rtl="0">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43" name="Text Placeholder 7">
            <a:extLst>
              <a:ext uri="{FF2B5EF4-FFF2-40B4-BE49-F238E27FC236}">
                <a16:creationId xmlns:a16="http://schemas.microsoft.com/office/drawing/2014/main" id="{F2B74739-E35F-478A-BC9D-502A47B5CA0D}"/>
              </a:ext>
            </a:extLst>
          </p:cNvPr>
          <p:cNvSpPr>
            <a:spLocks noGrp="1"/>
          </p:cNvSpPr>
          <p:nvPr>
            <p:ph type="body" sz="quarter" idx="27"/>
          </p:nvPr>
        </p:nvSpPr>
        <p:spPr>
          <a:xfrm>
            <a:off x="5345549" y="5489912"/>
            <a:ext cx="4763427" cy="1142613"/>
          </a:xfrm>
          <a:prstGeom prst="rect">
            <a:avLst/>
          </a:prstGeom>
        </p:spPr>
        <p:txBody>
          <a:bodyPr wrap="square" tIns="0" anchor="ctr" anchorCtr="0">
            <a:spAutoFit/>
          </a:bodyPr>
          <a:lstStyle>
            <a:lvl1pPr rtl="0">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rtl="0">
              <a:buClrTx/>
              <a:defRPr sz="1231">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a:p>
            <a:pPr marL="0" marR="0" lvl="2"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ird level</a:t>
            </a:r>
          </a:p>
          <a:p>
            <a:pPr marL="0" marR="0" lvl="3"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ourth level</a:t>
            </a:r>
          </a:p>
          <a:p>
            <a:pPr marL="0" marR="0" lvl="4"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fth level</a:t>
            </a:r>
            <a:endParaRPr kumimoji="0" lang="en-AU"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A9FE430D-E9DB-5531-861C-7BA0A5DD92BB}"/>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9708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oC_generic blue">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96B603F-02C8-D85D-662D-C1A28CA74DEC}"/>
              </a:ext>
            </a:extLst>
          </p:cNvPr>
          <p:cNvGraphicFramePr>
            <a:graphicFrameLocks noChangeAspect="1"/>
          </p:cNvGraphicFramePr>
          <p:nvPr userDrawn="1">
            <p:custDataLst>
              <p:tags r:id="rId1"/>
            </p:custDataLst>
            <p:extLst>
              <p:ext uri="{D42A27DB-BD31-4B8C-83A1-F6EECF244321}">
                <p14:modId xmlns:p14="http://schemas.microsoft.com/office/powerpoint/2010/main" val="3108769995"/>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think-cell data - do not delete" hidden="1">
                        <a:extLst>
                          <a:ext uri="{FF2B5EF4-FFF2-40B4-BE49-F238E27FC236}">
                            <a16:creationId xmlns:a16="http://schemas.microsoft.com/office/drawing/2014/main" id="{C96B603F-02C8-D85D-662D-C1A28CA74DEC}"/>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5" name="Picture 4" descr="A picture containing shirt&#10;&#10;Description automatically generated">
            <a:extLst>
              <a:ext uri="{FF2B5EF4-FFF2-40B4-BE49-F238E27FC236}">
                <a16:creationId xmlns:a16="http://schemas.microsoft.com/office/drawing/2014/main" id="{E544C380-8E71-4EE1-9FA0-85622597F69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10691813" cy="6479906"/>
          </a:xfrm>
          <a:prstGeom prst="rect">
            <a:avLst/>
          </a:prstGeom>
        </p:spPr>
      </p:pic>
      <p:sp>
        <p:nvSpPr>
          <p:cNvPr id="8" name="Text Placeholder 10"/>
          <p:cNvSpPr>
            <a:spLocks noGrp="1"/>
          </p:cNvSpPr>
          <p:nvPr>
            <p:ph type="body" sz="quarter" idx="10" hasCustomPrompt="1"/>
          </p:nvPr>
        </p:nvSpPr>
        <p:spPr>
          <a:xfrm>
            <a:off x="582837" y="4762001"/>
            <a:ext cx="8222338" cy="610664"/>
          </a:xfrm>
        </p:spPr>
        <p:txBody>
          <a:bodyPr anchor="b" anchorCtr="0">
            <a:noAutofit/>
          </a:bodyPr>
          <a:lstStyle>
            <a:lvl1pPr rtl="0">
              <a:defRPr sz="3076">
                <a:solidFill>
                  <a:schemeClr val="bg1"/>
                </a:solidFill>
                <a:latin typeface="Segoe UI Semibold" panose="020B0702040204020203" pitchFamily="34" charset="0"/>
              </a:defRPr>
            </a:lvl1pPr>
            <a:lvl5pPr>
              <a:defRPr/>
            </a:lvl5pPr>
          </a:lstStyle>
          <a:p>
            <a:pPr lvl="0"/>
            <a:r>
              <a:rPr lang="en-AU" noProof="0"/>
              <a:t>Acknowledgement of Country</a:t>
            </a:r>
          </a:p>
        </p:txBody>
      </p:sp>
      <p:sp>
        <p:nvSpPr>
          <p:cNvPr id="9" name="Text Placeholder 13"/>
          <p:cNvSpPr>
            <a:spLocks noGrp="1"/>
          </p:cNvSpPr>
          <p:nvPr>
            <p:ph type="body" sz="quarter" idx="11" hasCustomPrompt="1"/>
          </p:nvPr>
        </p:nvSpPr>
        <p:spPr>
          <a:xfrm>
            <a:off x="582839" y="5357251"/>
            <a:ext cx="6022645" cy="373177"/>
          </a:xfrm>
        </p:spPr>
        <p:txBody>
          <a:bodyPr/>
          <a:lstStyle>
            <a:lvl1pPr rtl="0">
              <a:spcBef>
                <a:spcPts val="1231"/>
              </a:spcBef>
              <a:defRPr sz="1641" baseline="0">
                <a:solidFill>
                  <a:schemeClr val="bg1"/>
                </a:solidFill>
              </a:defRPr>
            </a:lvl1pPr>
            <a:lvl2pPr>
              <a:defRPr sz="1435">
                <a:solidFill>
                  <a:schemeClr val="bg1"/>
                </a:solidFill>
              </a:defRPr>
            </a:lvl2pPr>
            <a:lvl3pPr>
              <a:defRPr sz="1435">
                <a:solidFill>
                  <a:schemeClr val="bg1"/>
                </a:solidFill>
              </a:defRPr>
            </a:lvl3pPr>
            <a:lvl4pPr>
              <a:defRPr sz="1435">
                <a:solidFill>
                  <a:schemeClr val="bg1"/>
                </a:solidFill>
              </a:defRPr>
            </a:lvl4pPr>
            <a:lvl5pPr>
              <a:defRPr sz="1435">
                <a:solidFill>
                  <a:schemeClr val="bg1"/>
                </a:solidFill>
              </a:defRPr>
            </a:lvl5pPr>
          </a:lstStyle>
          <a:p>
            <a:pPr lvl="0"/>
            <a:r>
              <a:rPr lang="en-AU" noProof="0"/>
              <a:t>From the Land of xx people</a:t>
            </a:r>
          </a:p>
        </p:txBody>
      </p:sp>
      <p:pic>
        <p:nvPicPr>
          <p:cNvPr id="3" name="Picture 2" descr="A picture containing drawing&#10;&#10;Description automatically generated">
            <a:extLst>
              <a:ext uri="{FF2B5EF4-FFF2-40B4-BE49-F238E27FC236}">
                <a16:creationId xmlns:a16="http://schemas.microsoft.com/office/drawing/2014/main" id="{273C9FA6-4527-BDA6-7D06-0167AA74C00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64296" y="7032562"/>
            <a:ext cx="717097" cy="209737"/>
          </a:xfrm>
          <a:prstGeom prst="rect">
            <a:avLst/>
          </a:prstGeom>
        </p:spPr>
      </p:pic>
    </p:spTree>
    <p:extLst>
      <p:ext uri="{BB962C8B-B14F-4D97-AF65-F5344CB8AC3E}">
        <p14:creationId xmlns:p14="http://schemas.microsoft.com/office/powerpoint/2010/main" val="4249499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430977787"/>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F6D217C-06F9-4DA1-8EBB-ABA72921A348}"/>
              </a:ext>
            </a:extLst>
          </p:cNvPr>
          <p:cNvSpPr/>
          <p:nvPr userDrawn="1"/>
        </p:nvSpPr>
        <p:spPr>
          <a:xfrm>
            <a:off x="1" y="1239823"/>
            <a:ext cx="10691813" cy="57246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sp>
        <p:nvSpPr>
          <p:cNvPr id="16" name="Text Placeholder 2">
            <a:extLst>
              <a:ext uri="{FF2B5EF4-FFF2-40B4-BE49-F238E27FC236}">
                <a16:creationId xmlns:a16="http://schemas.microsoft.com/office/drawing/2014/main" id="{7E768206-1DED-6AFD-987D-94716962304E}"/>
              </a:ext>
            </a:extLst>
          </p:cNvPr>
          <p:cNvSpPr>
            <a:spLocks noGrp="1"/>
          </p:cNvSpPr>
          <p:nvPr>
            <p:ph idx="1"/>
          </p:nvPr>
        </p:nvSpPr>
        <p:spPr>
          <a:xfrm>
            <a:off x="971395" y="2156104"/>
            <a:ext cx="9131106" cy="683228"/>
          </a:xfrm>
          <a:prstGeom prst="rect">
            <a:avLst/>
          </a:prstGeom>
        </p:spPr>
        <p:txBody>
          <a:bodyPr vert="horz" lIns="0" tIns="144000" rIns="0" bIns="144000" rtlCol="0" anchor="ctr" anchorCtr="0">
            <a:spAutoFit/>
          </a:bodyPr>
          <a:lstStyle>
            <a:lvl1pPr rtl="0">
              <a:defRPr/>
            </a:lvl1pPr>
            <a:lvl2pPr rtl="0">
              <a:defRPr/>
            </a:lvl2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8" name="Title 1">
            <a:extLst>
              <a:ext uri="{FF2B5EF4-FFF2-40B4-BE49-F238E27FC236}">
                <a16:creationId xmlns:a16="http://schemas.microsoft.com/office/drawing/2014/main" id="{726BC19B-0114-7E3F-59AB-32EA98F05A23}"/>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9" name="TextBox 8">
            <a:extLst>
              <a:ext uri="{FF2B5EF4-FFF2-40B4-BE49-F238E27FC236}">
                <a16:creationId xmlns:a16="http://schemas.microsoft.com/office/drawing/2014/main" id="{BBF06B95-13FE-F415-B118-1EBF4BE8ED5C}"/>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4E952280-0D67-E7AB-C6D4-93E5866333F0}"/>
              </a:ext>
            </a:extLst>
          </p:cNvPr>
          <p:cNvSpPr/>
          <p:nvPr userDrawn="1"/>
        </p:nvSpPr>
        <p:spPr>
          <a:xfrm>
            <a:off x="576831" y="1238120"/>
            <a:ext cx="38855" cy="5726305"/>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0" name="Oval 9">
            <a:extLst>
              <a:ext uri="{FF2B5EF4-FFF2-40B4-BE49-F238E27FC236}">
                <a16:creationId xmlns:a16="http://schemas.microsoft.com/office/drawing/2014/main" id="{FA9A4814-964F-9A05-345E-3C970D3C545B}"/>
              </a:ext>
            </a:extLst>
          </p:cNvPr>
          <p:cNvSpPr>
            <a:spLocks noChangeAspect="1"/>
          </p:cNvSpPr>
          <p:nvPr userDrawn="1"/>
        </p:nvSpPr>
        <p:spPr>
          <a:xfrm>
            <a:off x="499119" y="2398511"/>
            <a:ext cx="194279" cy="198417"/>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3" name="Oval 12">
            <a:extLst>
              <a:ext uri="{FF2B5EF4-FFF2-40B4-BE49-F238E27FC236}">
                <a16:creationId xmlns:a16="http://schemas.microsoft.com/office/drawing/2014/main" id="{E7E82E82-D4B6-E35C-3E7C-29BF5509143E}"/>
              </a:ext>
            </a:extLst>
          </p:cNvPr>
          <p:cNvSpPr>
            <a:spLocks noChangeAspect="1"/>
          </p:cNvSpPr>
          <p:nvPr userDrawn="1"/>
        </p:nvSpPr>
        <p:spPr>
          <a:xfrm>
            <a:off x="499119" y="3934164"/>
            <a:ext cx="194279" cy="198417"/>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5" name="Oval 14">
            <a:extLst>
              <a:ext uri="{FF2B5EF4-FFF2-40B4-BE49-F238E27FC236}">
                <a16:creationId xmlns:a16="http://schemas.microsoft.com/office/drawing/2014/main" id="{6960ADFA-D4C1-1170-D9A2-3ADB919D6BDB}"/>
              </a:ext>
            </a:extLst>
          </p:cNvPr>
          <p:cNvSpPr>
            <a:spLocks noChangeAspect="1"/>
          </p:cNvSpPr>
          <p:nvPr userDrawn="1"/>
        </p:nvSpPr>
        <p:spPr>
          <a:xfrm>
            <a:off x="499119" y="5469816"/>
            <a:ext cx="194279" cy="198417"/>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20" name="Text Placeholder 2">
            <a:extLst>
              <a:ext uri="{FF2B5EF4-FFF2-40B4-BE49-F238E27FC236}">
                <a16:creationId xmlns:a16="http://schemas.microsoft.com/office/drawing/2014/main" id="{9F38CC61-6152-172E-CFA5-2247F4E37A36}"/>
              </a:ext>
            </a:extLst>
          </p:cNvPr>
          <p:cNvSpPr>
            <a:spLocks noGrp="1"/>
          </p:cNvSpPr>
          <p:nvPr>
            <p:ph idx="18"/>
          </p:nvPr>
        </p:nvSpPr>
        <p:spPr>
          <a:xfrm>
            <a:off x="971395" y="3691757"/>
            <a:ext cx="9131106" cy="683228"/>
          </a:xfrm>
          <a:prstGeom prst="rect">
            <a:avLst/>
          </a:prstGeom>
        </p:spPr>
        <p:txBody>
          <a:bodyPr vert="horz" lIns="0" tIns="144000" rIns="0" bIns="144000" rtlCol="0" anchor="ctr" anchorCtr="0">
            <a:spAutoFit/>
          </a:bodyPr>
          <a:lstStyle>
            <a:lvl1pPr rtl="0">
              <a:defRPr/>
            </a:lvl1pPr>
            <a:lvl2pPr rtl="0">
              <a:defRPr/>
            </a:lvl2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p:txBody>
      </p:sp>
      <p:sp>
        <p:nvSpPr>
          <p:cNvPr id="21" name="Text Placeholder 2">
            <a:extLst>
              <a:ext uri="{FF2B5EF4-FFF2-40B4-BE49-F238E27FC236}">
                <a16:creationId xmlns:a16="http://schemas.microsoft.com/office/drawing/2014/main" id="{85D57782-F0C0-AB08-7047-84E0198F90E4}"/>
              </a:ext>
            </a:extLst>
          </p:cNvPr>
          <p:cNvSpPr>
            <a:spLocks noGrp="1"/>
          </p:cNvSpPr>
          <p:nvPr>
            <p:ph idx="19"/>
          </p:nvPr>
        </p:nvSpPr>
        <p:spPr>
          <a:xfrm>
            <a:off x="971395" y="5227410"/>
            <a:ext cx="9131106" cy="683228"/>
          </a:xfrm>
          <a:prstGeom prst="rect">
            <a:avLst/>
          </a:prstGeom>
        </p:spPr>
        <p:txBody>
          <a:bodyPr vert="horz" lIns="0" tIns="144000" rIns="0" bIns="144000" rtlCol="0" anchor="ctr" anchorCtr="0">
            <a:spAutoFit/>
          </a:bodyPr>
          <a:lstStyle>
            <a:lvl1pPr rtl="0">
              <a:defRPr/>
            </a:lvl1pPr>
            <a:lvl2pPr rtl="0">
              <a:defRPr/>
            </a:lvl2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p:txBody>
      </p:sp>
    </p:spTree>
    <p:extLst>
      <p:ext uri="{BB962C8B-B14F-4D97-AF65-F5344CB8AC3E}">
        <p14:creationId xmlns:p14="http://schemas.microsoft.com/office/powerpoint/2010/main" val="25138358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1"/>
            </p:custDataLst>
            <p:extLst>
              <p:ext uri="{D42A27DB-BD31-4B8C-83A1-F6EECF244321}">
                <p14:modId xmlns:p14="http://schemas.microsoft.com/office/powerpoint/2010/main" val="1914094897"/>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F6D217C-06F9-4DA1-8EBB-ABA72921A348}"/>
              </a:ext>
            </a:extLst>
          </p:cNvPr>
          <p:cNvSpPr/>
          <p:nvPr userDrawn="1"/>
        </p:nvSpPr>
        <p:spPr>
          <a:xfrm>
            <a:off x="1" y="1239823"/>
            <a:ext cx="10691813" cy="57246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sp>
        <p:nvSpPr>
          <p:cNvPr id="16" name="Text Placeholder 2">
            <a:extLst>
              <a:ext uri="{FF2B5EF4-FFF2-40B4-BE49-F238E27FC236}">
                <a16:creationId xmlns:a16="http://schemas.microsoft.com/office/drawing/2014/main" id="{7E768206-1DED-6AFD-987D-94716962304E}"/>
              </a:ext>
            </a:extLst>
          </p:cNvPr>
          <p:cNvSpPr>
            <a:spLocks noGrp="1"/>
          </p:cNvSpPr>
          <p:nvPr>
            <p:ph idx="1"/>
          </p:nvPr>
        </p:nvSpPr>
        <p:spPr>
          <a:xfrm>
            <a:off x="971395" y="1876995"/>
            <a:ext cx="9131106" cy="683228"/>
          </a:xfrm>
          <a:prstGeom prst="rect">
            <a:avLst/>
          </a:prstGeom>
        </p:spPr>
        <p:txBody>
          <a:bodyPr vert="horz" lIns="0" tIns="144000" rIns="0" bIns="144000" rtlCol="0" anchor="ctr" anchorCtr="0">
            <a:spAutoFit/>
          </a:bodyPr>
          <a:lstStyle>
            <a:lvl1pPr rtl="0">
              <a:defRPr/>
            </a:lvl1pPr>
            <a:lvl2pPr rtl="0">
              <a:defRPr/>
            </a:lvl2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8" name="Title 1">
            <a:extLst>
              <a:ext uri="{FF2B5EF4-FFF2-40B4-BE49-F238E27FC236}">
                <a16:creationId xmlns:a16="http://schemas.microsoft.com/office/drawing/2014/main" id="{726BC19B-0114-7E3F-59AB-32EA98F05A23}"/>
              </a:ext>
            </a:extLst>
          </p:cNvPr>
          <p:cNvSpPr>
            <a:spLocks noGrp="1"/>
          </p:cNvSpPr>
          <p:nvPr>
            <p:ph type="title" hasCustomPrompt="1"/>
          </p:nvPr>
        </p:nvSpPr>
        <p:spPr>
          <a:xfrm>
            <a:off x="582837"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9" name="TextBox 8">
            <a:extLst>
              <a:ext uri="{FF2B5EF4-FFF2-40B4-BE49-F238E27FC236}">
                <a16:creationId xmlns:a16="http://schemas.microsoft.com/office/drawing/2014/main" id="{BBF06B95-13FE-F415-B118-1EBF4BE8ED5C}"/>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4E952280-0D67-E7AB-C6D4-93E5866333F0}"/>
              </a:ext>
            </a:extLst>
          </p:cNvPr>
          <p:cNvSpPr/>
          <p:nvPr userDrawn="1"/>
        </p:nvSpPr>
        <p:spPr>
          <a:xfrm>
            <a:off x="576831" y="1238120"/>
            <a:ext cx="38855" cy="5726305"/>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0" name="Oval 9">
            <a:extLst>
              <a:ext uri="{FF2B5EF4-FFF2-40B4-BE49-F238E27FC236}">
                <a16:creationId xmlns:a16="http://schemas.microsoft.com/office/drawing/2014/main" id="{FA9A4814-964F-9A05-345E-3C970D3C545B}"/>
              </a:ext>
            </a:extLst>
          </p:cNvPr>
          <p:cNvSpPr>
            <a:spLocks noChangeAspect="1"/>
          </p:cNvSpPr>
          <p:nvPr userDrawn="1"/>
        </p:nvSpPr>
        <p:spPr>
          <a:xfrm>
            <a:off x="499119" y="2119402"/>
            <a:ext cx="194279" cy="198417"/>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2" name="Oval 11">
            <a:extLst>
              <a:ext uri="{FF2B5EF4-FFF2-40B4-BE49-F238E27FC236}">
                <a16:creationId xmlns:a16="http://schemas.microsoft.com/office/drawing/2014/main" id="{CC17EBBD-5581-B923-DF72-1BB813B79888}"/>
              </a:ext>
            </a:extLst>
          </p:cNvPr>
          <p:cNvSpPr>
            <a:spLocks noChangeAspect="1"/>
          </p:cNvSpPr>
          <p:nvPr userDrawn="1"/>
        </p:nvSpPr>
        <p:spPr>
          <a:xfrm>
            <a:off x="499119" y="3330283"/>
            <a:ext cx="194279" cy="198417"/>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3" name="Oval 12">
            <a:extLst>
              <a:ext uri="{FF2B5EF4-FFF2-40B4-BE49-F238E27FC236}">
                <a16:creationId xmlns:a16="http://schemas.microsoft.com/office/drawing/2014/main" id="{E7E82E82-D4B6-E35C-3E7C-29BF5509143E}"/>
              </a:ext>
            </a:extLst>
          </p:cNvPr>
          <p:cNvSpPr>
            <a:spLocks noChangeAspect="1"/>
          </p:cNvSpPr>
          <p:nvPr userDrawn="1"/>
        </p:nvSpPr>
        <p:spPr>
          <a:xfrm>
            <a:off x="499119" y="4541163"/>
            <a:ext cx="194279" cy="198417"/>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5" name="Oval 14">
            <a:extLst>
              <a:ext uri="{FF2B5EF4-FFF2-40B4-BE49-F238E27FC236}">
                <a16:creationId xmlns:a16="http://schemas.microsoft.com/office/drawing/2014/main" id="{6960ADFA-D4C1-1170-D9A2-3ADB919D6BDB}"/>
              </a:ext>
            </a:extLst>
          </p:cNvPr>
          <p:cNvSpPr>
            <a:spLocks noChangeAspect="1"/>
          </p:cNvSpPr>
          <p:nvPr userDrawn="1"/>
        </p:nvSpPr>
        <p:spPr>
          <a:xfrm>
            <a:off x="499119" y="5752045"/>
            <a:ext cx="194279" cy="198417"/>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9" name="Text Placeholder 2">
            <a:extLst>
              <a:ext uri="{FF2B5EF4-FFF2-40B4-BE49-F238E27FC236}">
                <a16:creationId xmlns:a16="http://schemas.microsoft.com/office/drawing/2014/main" id="{E1B4F6CD-3946-92CF-BF91-186CC0AF0CB8}"/>
              </a:ext>
            </a:extLst>
          </p:cNvPr>
          <p:cNvSpPr>
            <a:spLocks noGrp="1"/>
          </p:cNvSpPr>
          <p:nvPr>
            <p:ph idx="17"/>
          </p:nvPr>
        </p:nvSpPr>
        <p:spPr>
          <a:xfrm>
            <a:off x="971395" y="3087876"/>
            <a:ext cx="9131106" cy="683228"/>
          </a:xfrm>
          <a:prstGeom prst="rect">
            <a:avLst/>
          </a:prstGeom>
        </p:spPr>
        <p:txBody>
          <a:bodyPr vert="horz" lIns="0" tIns="144000" rIns="0" bIns="144000" rtlCol="0" anchor="ctr" anchorCtr="0">
            <a:spAutoFit/>
          </a:bodyPr>
          <a:lstStyle>
            <a:lvl1pPr rtl="0">
              <a:defRPr/>
            </a:lvl1pPr>
            <a:lvl2pPr rtl="0">
              <a:defRPr/>
            </a:lvl2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p:txBody>
      </p:sp>
      <p:sp>
        <p:nvSpPr>
          <p:cNvPr id="20" name="Text Placeholder 2">
            <a:extLst>
              <a:ext uri="{FF2B5EF4-FFF2-40B4-BE49-F238E27FC236}">
                <a16:creationId xmlns:a16="http://schemas.microsoft.com/office/drawing/2014/main" id="{9F38CC61-6152-172E-CFA5-2247F4E37A36}"/>
              </a:ext>
            </a:extLst>
          </p:cNvPr>
          <p:cNvSpPr>
            <a:spLocks noGrp="1"/>
          </p:cNvSpPr>
          <p:nvPr>
            <p:ph idx="18"/>
          </p:nvPr>
        </p:nvSpPr>
        <p:spPr>
          <a:xfrm>
            <a:off x="971395" y="4298756"/>
            <a:ext cx="9131106" cy="683228"/>
          </a:xfrm>
          <a:prstGeom prst="rect">
            <a:avLst/>
          </a:prstGeom>
        </p:spPr>
        <p:txBody>
          <a:bodyPr vert="horz" lIns="0" tIns="144000" rIns="0" bIns="144000" rtlCol="0" anchor="ctr" anchorCtr="0">
            <a:spAutoFit/>
          </a:bodyPr>
          <a:lstStyle>
            <a:lvl1pPr rtl="0">
              <a:defRPr/>
            </a:lvl1pPr>
            <a:lvl2pPr rtl="0">
              <a:defRPr/>
            </a:lvl2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p:txBody>
      </p:sp>
      <p:sp>
        <p:nvSpPr>
          <p:cNvPr id="21" name="Text Placeholder 2">
            <a:extLst>
              <a:ext uri="{FF2B5EF4-FFF2-40B4-BE49-F238E27FC236}">
                <a16:creationId xmlns:a16="http://schemas.microsoft.com/office/drawing/2014/main" id="{85D57782-F0C0-AB08-7047-84E0198F90E4}"/>
              </a:ext>
            </a:extLst>
          </p:cNvPr>
          <p:cNvSpPr>
            <a:spLocks noGrp="1"/>
          </p:cNvSpPr>
          <p:nvPr>
            <p:ph idx="19"/>
          </p:nvPr>
        </p:nvSpPr>
        <p:spPr>
          <a:xfrm>
            <a:off x="971395" y="5509638"/>
            <a:ext cx="9131106" cy="683228"/>
          </a:xfrm>
          <a:prstGeom prst="rect">
            <a:avLst/>
          </a:prstGeom>
        </p:spPr>
        <p:txBody>
          <a:bodyPr vert="horz" lIns="0" tIns="144000" rIns="0" bIns="144000" rtlCol="0" anchor="ctr" anchorCtr="0">
            <a:spAutoFit/>
          </a:bodyPr>
          <a:lstStyle>
            <a:lvl1pPr rtl="0">
              <a:defRPr/>
            </a:lvl1pPr>
            <a:lvl2pPr rtl="0">
              <a:defRPr/>
            </a:lvl2pPr>
          </a:lstStyle>
          <a:p>
            <a:pPr marL="0" marR="0" lvl="0"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lick to edit Master text styles</a:t>
            </a:r>
          </a:p>
          <a:p>
            <a:pPr marL="0" marR="0" lvl="1" indent="0" algn="l" defTabSz="937623" rtl="0" eaLnBrk="1" fontAlgn="auto" latinLnBrk="0" hangingPunct="1">
              <a:lnSpc>
                <a:spcPct val="100000"/>
              </a:lnSpc>
              <a:spcBef>
                <a:spcPts val="615"/>
              </a:spcBef>
              <a:spcAft>
                <a:spcPts val="0"/>
              </a:spcAft>
              <a:buClrTx/>
              <a:buSzTx/>
              <a:buFont typeface="Arial" pitchFamily="34" charset="0"/>
              <a:buNone/>
              <a:tabLst/>
              <a:defRPr/>
            </a:pPr>
            <a:r>
              <a:rPr kumimoji="0" lang="en-US" sz="1025"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econd level</a:t>
            </a:r>
          </a:p>
        </p:txBody>
      </p:sp>
    </p:spTree>
    <p:extLst>
      <p:ext uri="{BB962C8B-B14F-4D97-AF65-F5344CB8AC3E}">
        <p14:creationId xmlns:p14="http://schemas.microsoft.com/office/powerpoint/2010/main" val="837250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panel with content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FD16C1-EF3E-BE4B-0C3E-EF839CADB91A}"/>
              </a:ext>
            </a:extLst>
          </p:cNvPr>
          <p:cNvGraphicFramePr>
            <a:graphicFrameLocks noChangeAspect="1"/>
          </p:cNvGraphicFramePr>
          <p:nvPr userDrawn="1">
            <p:custDataLst>
              <p:tags r:id="rId1"/>
            </p:custDataLst>
            <p:extLst>
              <p:ext uri="{D42A27DB-BD31-4B8C-83A1-F6EECF244321}">
                <p14:modId xmlns:p14="http://schemas.microsoft.com/office/powerpoint/2010/main" val="281190794"/>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15FD16C1-EF3E-BE4B-0C3E-EF839CADB91A}"/>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33AE651-838A-9EE6-BE75-CA9EEDDD2C94}"/>
              </a:ext>
            </a:extLst>
          </p:cNvPr>
          <p:cNvSpPr/>
          <p:nvPr userDrawn="1"/>
        </p:nvSpPr>
        <p:spPr>
          <a:xfrm>
            <a:off x="8204332" y="120929"/>
            <a:ext cx="2486770" cy="743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846"/>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2" name="TextBox 11"/>
          <p:cNvSpPr txBox="1"/>
          <p:nvPr userDrawn="1"/>
        </p:nvSpPr>
        <p:spPr>
          <a:xfrm>
            <a:off x="9305932" y="7046396"/>
            <a:ext cx="854923" cy="281744"/>
          </a:xfrm>
          <a:prstGeom prst="rect">
            <a:avLst/>
          </a:prstGeom>
          <a:noFill/>
        </p:spPr>
        <p:txBody>
          <a:bodyPr wrap="square" lIns="0" rIns="0" rtlCol="0">
            <a:spAutoFit/>
          </a:bodyPr>
          <a:lstStyle/>
          <a:p>
            <a:pPr algn="r" rtl="0"/>
            <a:fld id="{6E8856DA-B77A-4A94-8E84-45BF77D9376B}" type="slidenum">
              <a:rPr lang="en-AU" sz="1231" noProof="0" smtClean="0">
                <a:solidFill>
                  <a:schemeClr val="bg2"/>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bg2"/>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Title 1">
            <a:extLst>
              <a:ext uri="{FF2B5EF4-FFF2-40B4-BE49-F238E27FC236}">
                <a16:creationId xmlns:a16="http://schemas.microsoft.com/office/drawing/2014/main" id="{C6D1764A-BC26-2B3F-5451-AEEFC3A6C1CE}"/>
              </a:ext>
            </a:extLst>
          </p:cNvPr>
          <p:cNvSpPr>
            <a:spLocks noGrp="1"/>
          </p:cNvSpPr>
          <p:nvPr>
            <p:ph type="title" hasCustomPrompt="1"/>
          </p:nvPr>
        </p:nvSpPr>
        <p:spPr>
          <a:xfrm>
            <a:off x="582837" y="436518"/>
            <a:ext cx="722717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5" name="TextBox 4">
            <a:extLst>
              <a:ext uri="{FF2B5EF4-FFF2-40B4-BE49-F238E27FC236}">
                <a16:creationId xmlns:a16="http://schemas.microsoft.com/office/drawing/2014/main" id="{239E76B6-2C80-70DF-6A99-E78629C78A7A}"/>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5">
            <a:extLst>
              <a:ext uri="{FF2B5EF4-FFF2-40B4-BE49-F238E27FC236}">
                <a16:creationId xmlns:a16="http://schemas.microsoft.com/office/drawing/2014/main" id="{BFDCD30A-A9C0-5F90-3ADC-6AB7880BB3C6}"/>
              </a:ext>
            </a:extLst>
          </p:cNvPr>
          <p:cNvSpPr>
            <a:spLocks noGrp="1"/>
          </p:cNvSpPr>
          <p:nvPr>
            <p:ph type="body" sz="quarter" idx="14" hasCustomPrompt="1"/>
          </p:nvPr>
        </p:nvSpPr>
        <p:spPr>
          <a:xfrm>
            <a:off x="582837" y="1150817"/>
            <a:ext cx="7227173" cy="476200"/>
          </a:xfrm>
        </p:spPr>
        <p:txBody>
          <a:bodyPr/>
          <a:lstStyle>
            <a:lvl1pPr rtl="0">
              <a:defRPr sz="1127">
                <a:solidFill>
                  <a:schemeClr val="bg2"/>
                </a:solidFill>
              </a:defRPr>
            </a:lvl1pPr>
          </a:lstStyle>
          <a:p>
            <a:pPr lvl="0"/>
            <a:r>
              <a:rPr lang="en-AU" noProof="0"/>
              <a:t>Intro text (2 lines max)</a:t>
            </a:r>
          </a:p>
        </p:txBody>
      </p:sp>
      <p:sp>
        <p:nvSpPr>
          <p:cNvPr id="10" name="Text Placeholder 4">
            <a:extLst>
              <a:ext uri="{FF2B5EF4-FFF2-40B4-BE49-F238E27FC236}">
                <a16:creationId xmlns:a16="http://schemas.microsoft.com/office/drawing/2014/main" id="{DA28BA06-E923-23F4-5065-B9CBA2836643}"/>
              </a:ext>
            </a:extLst>
          </p:cNvPr>
          <p:cNvSpPr>
            <a:spLocks noGrp="1"/>
          </p:cNvSpPr>
          <p:nvPr>
            <p:ph type="body" sz="quarter" idx="34"/>
          </p:nvPr>
        </p:nvSpPr>
        <p:spPr>
          <a:xfrm>
            <a:off x="8509414" y="1071451"/>
            <a:ext cx="1865078" cy="5754083"/>
          </a:xfrm>
        </p:spPr>
        <p:txBody>
          <a:bodyPr anchor="ctr" anchorCtr="0"/>
          <a:lstStyle>
            <a:lvl1pPr rtl="0">
              <a:defRPr>
                <a:solidFill>
                  <a:schemeClr val="bg1"/>
                </a:solidFill>
              </a:defRPr>
            </a:lvl1pPr>
            <a:lvl2pPr rtl="0">
              <a:defRPr>
                <a:solidFill>
                  <a:schemeClr val="bg1"/>
                </a:solidFill>
              </a:defRPr>
            </a:lvl2pPr>
            <a:lvl3pPr rtl="0">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Text Placeholder 4">
            <a:extLst>
              <a:ext uri="{FF2B5EF4-FFF2-40B4-BE49-F238E27FC236}">
                <a16:creationId xmlns:a16="http://schemas.microsoft.com/office/drawing/2014/main" id="{D1AE210F-256E-DB82-9B9E-B457A9EB7D25}"/>
              </a:ext>
            </a:extLst>
          </p:cNvPr>
          <p:cNvSpPr>
            <a:spLocks noGrp="1"/>
          </p:cNvSpPr>
          <p:nvPr>
            <p:ph type="body" sz="quarter" idx="33"/>
          </p:nvPr>
        </p:nvSpPr>
        <p:spPr>
          <a:xfrm>
            <a:off x="582569" y="1666700"/>
            <a:ext cx="7227173"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775654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 panel with content gre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D42439-C1A4-DAA4-CE0D-0D8EB7DBB058}"/>
              </a:ext>
            </a:extLst>
          </p:cNvPr>
          <p:cNvGraphicFramePr>
            <a:graphicFrameLocks noChangeAspect="1"/>
          </p:cNvGraphicFramePr>
          <p:nvPr userDrawn="1">
            <p:custDataLst>
              <p:tags r:id="rId1"/>
            </p:custDataLst>
            <p:extLst>
              <p:ext uri="{D42A27DB-BD31-4B8C-83A1-F6EECF244321}">
                <p14:modId xmlns:p14="http://schemas.microsoft.com/office/powerpoint/2010/main" val="4091435544"/>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BD42439-C1A4-DAA4-CE0D-0D8EB7DBB058}"/>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10691098" cy="123019"/>
          </a:xfrm>
          <a:prstGeom prst="rect">
            <a:avLst/>
          </a:prstGeom>
        </p:spPr>
      </p:pic>
      <p:sp>
        <p:nvSpPr>
          <p:cNvPr id="9" name="Rectangle 8"/>
          <p:cNvSpPr/>
          <p:nvPr userDrawn="1"/>
        </p:nvSpPr>
        <p:spPr>
          <a:xfrm>
            <a:off x="8204332" y="120929"/>
            <a:ext cx="2486770" cy="7438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846"/>
          </a:p>
        </p:txBody>
      </p:sp>
      <p:sp>
        <p:nvSpPr>
          <p:cNvPr id="4" name="TextBox 3">
            <a:extLst>
              <a:ext uri="{FF2B5EF4-FFF2-40B4-BE49-F238E27FC236}">
                <a16:creationId xmlns:a16="http://schemas.microsoft.com/office/drawing/2014/main" id="{DDFF9EC8-26EA-153D-1377-75D7A1D51B96}"/>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249882AC-684E-EBEC-391D-5010EE0721EB}"/>
              </a:ext>
            </a:extLst>
          </p:cNvPr>
          <p:cNvSpPr>
            <a:spLocks noGrp="1"/>
          </p:cNvSpPr>
          <p:nvPr>
            <p:ph type="title" hasCustomPrompt="1"/>
          </p:nvPr>
        </p:nvSpPr>
        <p:spPr>
          <a:xfrm>
            <a:off x="582837" y="436518"/>
            <a:ext cx="7227173"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11" name="Text Placeholder 5">
            <a:extLst>
              <a:ext uri="{FF2B5EF4-FFF2-40B4-BE49-F238E27FC236}">
                <a16:creationId xmlns:a16="http://schemas.microsoft.com/office/drawing/2014/main" id="{0763ADF7-649C-BED0-8133-F9B8D6D76AA6}"/>
              </a:ext>
            </a:extLst>
          </p:cNvPr>
          <p:cNvSpPr>
            <a:spLocks noGrp="1"/>
          </p:cNvSpPr>
          <p:nvPr>
            <p:ph type="body" sz="quarter" idx="14" hasCustomPrompt="1"/>
          </p:nvPr>
        </p:nvSpPr>
        <p:spPr>
          <a:xfrm>
            <a:off x="582837" y="1150817"/>
            <a:ext cx="7227173" cy="476200"/>
          </a:xfrm>
        </p:spPr>
        <p:txBody>
          <a:bodyPr/>
          <a:lstStyle>
            <a:lvl1pPr rtl="0">
              <a:defRPr sz="1127">
                <a:solidFill>
                  <a:schemeClr val="bg2"/>
                </a:solidFill>
              </a:defRPr>
            </a:lvl1pPr>
          </a:lstStyle>
          <a:p>
            <a:pPr lvl="0"/>
            <a:r>
              <a:rPr lang="en-AU" noProof="0"/>
              <a:t>Intro text (2 lines max)</a:t>
            </a:r>
          </a:p>
        </p:txBody>
      </p:sp>
      <p:sp>
        <p:nvSpPr>
          <p:cNvPr id="12" name="Text Placeholder 4">
            <a:extLst>
              <a:ext uri="{FF2B5EF4-FFF2-40B4-BE49-F238E27FC236}">
                <a16:creationId xmlns:a16="http://schemas.microsoft.com/office/drawing/2014/main" id="{B2AB9079-C8A4-9962-DBD1-C6BDD3130488}"/>
              </a:ext>
            </a:extLst>
          </p:cNvPr>
          <p:cNvSpPr>
            <a:spLocks noGrp="1"/>
          </p:cNvSpPr>
          <p:nvPr>
            <p:ph type="body" sz="quarter" idx="34"/>
          </p:nvPr>
        </p:nvSpPr>
        <p:spPr>
          <a:xfrm>
            <a:off x="8509414" y="1071451"/>
            <a:ext cx="1865078" cy="5754083"/>
          </a:xfrm>
        </p:spPr>
        <p:txBody>
          <a:bodyPr anchor="ctr" anchorCtr="0"/>
          <a:lstStyle>
            <a:lvl1pPr rtl="0">
              <a:defRPr>
                <a:solidFill>
                  <a:schemeClr val="bg2"/>
                </a:solidFill>
              </a:defRPr>
            </a:lvl1pPr>
            <a:lvl2pPr rtl="0">
              <a:defRPr>
                <a:solidFill>
                  <a:schemeClr val="bg2"/>
                </a:solidFill>
              </a:defRPr>
            </a:lvl2pPr>
            <a:lvl3pPr rtl="0">
              <a:defRPr>
                <a:solidFill>
                  <a:schemeClr val="bg2"/>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4">
            <a:extLst>
              <a:ext uri="{FF2B5EF4-FFF2-40B4-BE49-F238E27FC236}">
                <a16:creationId xmlns:a16="http://schemas.microsoft.com/office/drawing/2014/main" id="{A801F835-3E36-C7F7-87D0-C6A996554A61}"/>
              </a:ext>
            </a:extLst>
          </p:cNvPr>
          <p:cNvSpPr>
            <a:spLocks noGrp="1"/>
          </p:cNvSpPr>
          <p:nvPr>
            <p:ph type="body" sz="quarter" idx="33"/>
          </p:nvPr>
        </p:nvSpPr>
        <p:spPr>
          <a:xfrm>
            <a:off x="582569" y="1666700"/>
            <a:ext cx="7227173"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8319178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rter Page Quo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AF962A-0F91-9AA2-8538-CC73B13A32B6}"/>
              </a:ext>
            </a:extLst>
          </p:cNvPr>
          <p:cNvGraphicFramePr>
            <a:graphicFrameLocks noChangeAspect="1"/>
          </p:cNvGraphicFramePr>
          <p:nvPr userDrawn="1">
            <p:custDataLst>
              <p:tags r:id="rId1"/>
            </p:custDataLst>
            <p:extLst>
              <p:ext uri="{D42A27DB-BD31-4B8C-83A1-F6EECF244321}">
                <p14:modId xmlns:p14="http://schemas.microsoft.com/office/powerpoint/2010/main" val="1497432170"/>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5DAF962A-0F91-9AA2-8538-CC73B13A32B6}"/>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B528203-3B8C-73D4-B180-32C7ACC8D8E4}"/>
              </a:ext>
            </a:extLst>
          </p:cNvPr>
          <p:cNvSpPr/>
          <p:nvPr userDrawn="1"/>
        </p:nvSpPr>
        <p:spPr>
          <a:xfrm>
            <a:off x="7693442" y="119048"/>
            <a:ext cx="2998371" cy="74406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127">
              <a:solidFill>
                <a:schemeClr val="bg2"/>
              </a:solidFill>
            </a:endParaRPr>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7" name="Text Placeholder 3"/>
          <p:cNvSpPr>
            <a:spLocks noGrp="1"/>
          </p:cNvSpPr>
          <p:nvPr>
            <p:ph type="body" sz="quarter" idx="14" hasCustomPrompt="1"/>
          </p:nvPr>
        </p:nvSpPr>
        <p:spPr>
          <a:xfrm>
            <a:off x="8221554" y="1764377"/>
            <a:ext cx="1943003" cy="4079224"/>
          </a:xfrm>
        </p:spPr>
        <p:txBody>
          <a:bodyPr anchor="ctr"/>
          <a:lstStyle>
            <a:lvl1pPr algn="ctr" rtl="0">
              <a:defRPr sz="1231"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17" name="Freeform 16"/>
          <p:cNvSpPr>
            <a:spLocks noChangeAspect="1" noEditPoints="1"/>
          </p:cNvSpPr>
          <p:nvPr userDrawn="1"/>
        </p:nvSpPr>
        <p:spPr bwMode="auto">
          <a:xfrm>
            <a:off x="8221553" y="1081071"/>
            <a:ext cx="455868"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19" name="Freeform 18"/>
          <p:cNvSpPr>
            <a:spLocks noChangeAspect="1" noEditPoints="1"/>
          </p:cNvSpPr>
          <p:nvPr userDrawn="1"/>
        </p:nvSpPr>
        <p:spPr bwMode="auto">
          <a:xfrm rot="10800000">
            <a:off x="9708691" y="6161103"/>
            <a:ext cx="455868"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4" name="TextBox 3">
            <a:extLst>
              <a:ext uri="{FF2B5EF4-FFF2-40B4-BE49-F238E27FC236}">
                <a16:creationId xmlns:a16="http://schemas.microsoft.com/office/drawing/2014/main" id="{66DDA83F-5D34-5984-E4A2-B91C5C7FC3BF}"/>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A9035102-E767-4EAF-4079-37FAB8E02D1E}"/>
              </a:ext>
            </a:extLst>
          </p:cNvPr>
          <p:cNvSpPr>
            <a:spLocks noGrp="1"/>
          </p:cNvSpPr>
          <p:nvPr>
            <p:ph type="title" hasCustomPrompt="1"/>
          </p:nvPr>
        </p:nvSpPr>
        <p:spPr>
          <a:xfrm>
            <a:off x="582837" y="436518"/>
            <a:ext cx="6605481"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0538BDFA-98B5-F8A1-B205-5F7397B25C8D}"/>
              </a:ext>
            </a:extLst>
          </p:cNvPr>
          <p:cNvSpPr>
            <a:spLocks noGrp="1"/>
          </p:cNvSpPr>
          <p:nvPr>
            <p:ph type="body" sz="quarter" idx="15" hasCustomPrompt="1"/>
          </p:nvPr>
        </p:nvSpPr>
        <p:spPr>
          <a:xfrm>
            <a:off x="582837" y="1150817"/>
            <a:ext cx="6605481" cy="476200"/>
          </a:xfrm>
        </p:spPr>
        <p:txBody>
          <a:bodyPr/>
          <a:lstStyle>
            <a:lvl1pPr rtl="0">
              <a:defRPr sz="1127">
                <a:solidFill>
                  <a:schemeClr val="bg2"/>
                </a:solidFill>
              </a:defRPr>
            </a:lvl1pPr>
          </a:lstStyle>
          <a:p>
            <a:pPr lvl="0"/>
            <a:r>
              <a:rPr lang="en-AU" noProof="0"/>
              <a:t>Intro text (2 lines max)</a:t>
            </a:r>
          </a:p>
        </p:txBody>
      </p:sp>
      <p:sp>
        <p:nvSpPr>
          <p:cNvPr id="9" name="Text Placeholder 4">
            <a:extLst>
              <a:ext uri="{FF2B5EF4-FFF2-40B4-BE49-F238E27FC236}">
                <a16:creationId xmlns:a16="http://schemas.microsoft.com/office/drawing/2014/main" id="{FD71E968-44BB-9E1A-1F24-00558C2AE299}"/>
              </a:ext>
            </a:extLst>
          </p:cNvPr>
          <p:cNvSpPr>
            <a:spLocks noGrp="1"/>
          </p:cNvSpPr>
          <p:nvPr>
            <p:ph type="body" sz="quarter" idx="33"/>
          </p:nvPr>
        </p:nvSpPr>
        <p:spPr>
          <a:xfrm>
            <a:off x="582567" y="1666700"/>
            <a:ext cx="6605481"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9741032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rter Page Quote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DF2DF7-7952-22C4-11F3-8CD5484EBF45}"/>
              </a:ext>
            </a:extLst>
          </p:cNvPr>
          <p:cNvGraphicFramePr>
            <a:graphicFrameLocks noChangeAspect="1"/>
          </p:cNvGraphicFramePr>
          <p:nvPr userDrawn="1">
            <p:custDataLst>
              <p:tags r:id="rId1"/>
            </p:custDataLst>
            <p:extLst>
              <p:ext uri="{D42A27DB-BD31-4B8C-83A1-F6EECF244321}">
                <p14:modId xmlns:p14="http://schemas.microsoft.com/office/powerpoint/2010/main" val="830399906"/>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22DF2DF7-7952-22C4-11F3-8CD5484EBF45}"/>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1AB3D8F-0973-C4FF-4965-BC0D69B4182D}"/>
              </a:ext>
            </a:extLst>
          </p:cNvPr>
          <p:cNvSpPr/>
          <p:nvPr userDrawn="1"/>
        </p:nvSpPr>
        <p:spPr>
          <a:xfrm>
            <a:off x="7693442" y="119048"/>
            <a:ext cx="2998371" cy="7440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127">
              <a:solidFill>
                <a:schemeClr val="bg2"/>
              </a:solidFill>
            </a:endParaRPr>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5" name="Text Placeholder 3"/>
          <p:cNvSpPr>
            <a:spLocks noGrp="1"/>
          </p:cNvSpPr>
          <p:nvPr>
            <p:ph type="body" sz="quarter" idx="14" hasCustomPrompt="1"/>
          </p:nvPr>
        </p:nvSpPr>
        <p:spPr>
          <a:xfrm>
            <a:off x="8221554" y="1764377"/>
            <a:ext cx="1943003" cy="4079224"/>
          </a:xfrm>
        </p:spPr>
        <p:txBody>
          <a:bodyPr anchor="ctr"/>
          <a:lstStyle>
            <a:lvl1pPr algn="ctr" rtl="0">
              <a:defRPr sz="1231"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19" name="Freeform 18"/>
          <p:cNvSpPr>
            <a:spLocks noChangeAspect="1" noEditPoints="1"/>
          </p:cNvSpPr>
          <p:nvPr userDrawn="1"/>
        </p:nvSpPr>
        <p:spPr bwMode="auto">
          <a:xfrm>
            <a:off x="8221555" y="1081071"/>
            <a:ext cx="455872"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20" name="Freeform 19"/>
          <p:cNvSpPr>
            <a:spLocks noChangeAspect="1" noEditPoints="1"/>
          </p:cNvSpPr>
          <p:nvPr userDrawn="1"/>
        </p:nvSpPr>
        <p:spPr bwMode="auto">
          <a:xfrm rot="10800000">
            <a:off x="9708688" y="6161103"/>
            <a:ext cx="455872"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4" name="TextBox 3">
            <a:extLst>
              <a:ext uri="{FF2B5EF4-FFF2-40B4-BE49-F238E27FC236}">
                <a16:creationId xmlns:a16="http://schemas.microsoft.com/office/drawing/2014/main" id="{EA561F07-4AFD-AEA4-F217-E04D1D27644C}"/>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D6501E6F-CF00-73FE-5A33-B45C60A2DC61}"/>
              </a:ext>
            </a:extLst>
          </p:cNvPr>
          <p:cNvSpPr>
            <a:spLocks noGrp="1"/>
          </p:cNvSpPr>
          <p:nvPr>
            <p:ph type="title" hasCustomPrompt="1"/>
          </p:nvPr>
        </p:nvSpPr>
        <p:spPr>
          <a:xfrm>
            <a:off x="582837" y="436518"/>
            <a:ext cx="6605481"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31B3B157-2820-9B39-30DE-CA3E175971B6}"/>
              </a:ext>
            </a:extLst>
          </p:cNvPr>
          <p:cNvSpPr>
            <a:spLocks noGrp="1"/>
          </p:cNvSpPr>
          <p:nvPr>
            <p:ph type="body" sz="quarter" idx="15" hasCustomPrompt="1"/>
          </p:nvPr>
        </p:nvSpPr>
        <p:spPr>
          <a:xfrm>
            <a:off x="582837" y="1150817"/>
            <a:ext cx="6605481"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A543C2E2-45BF-1E95-C0A5-82076C012D11}"/>
              </a:ext>
            </a:extLst>
          </p:cNvPr>
          <p:cNvSpPr>
            <a:spLocks noGrp="1"/>
          </p:cNvSpPr>
          <p:nvPr>
            <p:ph type="body" sz="quarter" idx="33"/>
          </p:nvPr>
        </p:nvSpPr>
        <p:spPr>
          <a:xfrm>
            <a:off x="582567" y="1666700"/>
            <a:ext cx="6605481"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8169150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arter Page Ins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8646F8-7530-82CF-69A1-3A8CC7CCD73A}"/>
              </a:ext>
            </a:extLst>
          </p:cNvPr>
          <p:cNvGraphicFramePr>
            <a:graphicFrameLocks noChangeAspect="1"/>
          </p:cNvGraphicFramePr>
          <p:nvPr userDrawn="1">
            <p:custDataLst>
              <p:tags r:id="rId1"/>
            </p:custDataLst>
            <p:extLst>
              <p:ext uri="{D42A27DB-BD31-4B8C-83A1-F6EECF244321}">
                <p14:modId xmlns:p14="http://schemas.microsoft.com/office/powerpoint/2010/main" val="13308465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48646F8-7530-82CF-69A1-3A8CC7CCD73A}"/>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DDCA60A-722C-420E-D26C-77D8DC422AA8}"/>
              </a:ext>
            </a:extLst>
          </p:cNvPr>
          <p:cNvSpPr/>
          <p:nvPr userDrawn="1"/>
        </p:nvSpPr>
        <p:spPr>
          <a:xfrm>
            <a:off x="7693442" y="119048"/>
            <a:ext cx="2998371" cy="74406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127">
              <a:solidFill>
                <a:schemeClr val="bg2"/>
              </a:solidFill>
            </a:endParaRPr>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7" name="Text Placeholder 3"/>
          <p:cNvSpPr>
            <a:spLocks noGrp="1"/>
          </p:cNvSpPr>
          <p:nvPr>
            <p:ph type="body" sz="quarter" idx="14" hasCustomPrompt="1"/>
          </p:nvPr>
        </p:nvSpPr>
        <p:spPr>
          <a:xfrm>
            <a:off x="8221554" y="1764377"/>
            <a:ext cx="1943003" cy="4079224"/>
          </a:xfrm>
        </p:spPr>
        <p:txBody>
          <a:bodyPr anchor="ctr"/>
          <a:lstStyle>
            <a:lvl1pPr algn="ctr" rtl="0">
              <a:defRPr sz="1231"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Insights</a:t>
            </a:r>
          </a:p>
        </p:txBody>
      </p:sp>
      <p:sp>
        <p:nvSpPr>
          <p:cNvPr id="4" name="TextBox 3">
            <a:extLst>
              <a:ext uri="{FF2B5EF4-FFF2-40B4-BE49-F238E27FC236}">
                <a16:creationId xmlns:a16="http://schemas.microsoft.com/office/drawing/2014/main" id="{53E11010-F7D7-9572-1B26-8BEEEA97850D}"/>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11A2FA45-9422-E997-0D7D-E98D2A477D24}"/>
              </a:ext>
            </a:extLst>
          </p:cNvPr>
          <p:cNvSpPr>
            <a:spLocks noGrp="1"/>
          </p:cNvSpPr>
          <p:nvPr>
            <p:ph type="title" hasCustomPrompt="1"/>
          </p:nvPr>
        </p:nvSpPr>
        <p:spPr>
          <a:xfrm>
            <a:off x="582837" y="436518"/>
            <a:ext cx="6605481"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F5339F65-89D4-DA82-1F62-F595AA54DE7E}"/>
              </a:ext>
            </a:extLst>
          </p:cNvPr>
          <p:cNvSpPr>
            <a:spLocks noGrp="1"/>
          </p:cNvSpPr>
          <p:nvPr>
            <p:ph type="body" sz="quarter" idx="15" hasCustomPrompt="1"/>
          </p:nvPr>
        </p:nvSpPr>
        <p:spPr>
          <a:xfrm>
            <a:off x="582837" y="1150817"/>
            <a:ext cx="6605481"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01949324-87A6-D3BB-0AB2-87647A005E89}"/>
              </a:ext>
            </a:extLst>
          </p:cNvPr>
          <p:cNvSpPr>
            <a:spLocks noGrp="1"/>
          </p:cNvSpPr>
          <p:nvPr>
            <p:ph type="body" sz="quarter" idx="33"/>
          </p:nvPr>
        </p:nvSpPr>
        <p:spPr>
          <a:xfrm>
            <a:off x="582567" y="1666700"/>
            <a:ext cx="6605481"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6011395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arter Page Insight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33AE8E-208B-6D54-3207-0C3509584287}"/>
              </a:ext>
            </a:extLst>
          </p:cNvPr>
          <p:cNvGraphicFramePr>
            <a:graphicFrameLocks noChangeAspect="1"/>
          </p:cNvGraphicFramePr>
          <p:nvPr userDrawn="1">
            <p:custDataLst>
              <p:tags r:id="rId1"/>
            </p:custDataLst>
            <p:extLst>
              <p:ext uri="{D42A27DB-BD31-4B8C-83A1-F6EECF244321}">
                <p14:modId xmlns:p14="http://schemas.microsoft.com/office/powerpoint/2010/main" val="82859479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9733AE8E-208B-6D54-3207-0C3509584287}"/>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B9CBE0D-8552-B444-CAE2-24F7F8BAE583}"/>
              </a:ext>
            </a:extLst>
          </p:cNvPr>
          <p:cNvSpPr/>
          <p:nvPr userDrawn="1"/>
        </p:nvSpPr>
        <p:spPr>
          <a:xfrm>
            <a:off x="7693442" y="119048"/>
            <a:ext cx="2998371" cy="7440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127">
              <a:solidFill>
                <a:schemeClr val="bg2"/>
              </a:solidFill>
            </a:endParaRPr>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9" name="Text Placeholder 3"/>
          <p:cNvSpPr>
            <a:spLocks noGrp="1"/>
          </p:cNvSpPr>
          <p:nvPr>
            <p:ph type="body" sz="quarter" idx="14" hasCustomPrompt="1"/>
          </p:nvPr>
        </p:nvSpPr>
        <p:spPr>
          <a:xfrm>
            <a:off x="8221554" y="1764377"/>
            <a:ext cx="1943003" cy="4079224"/>
          </a:xfrm>
        </p:spPr>
        <p:txBody>
          <a:bodyPr anchor="ctr"/>
          <a:lstStyle>
            <a:lvl1pPr algn="ctr" rtl="0">
              <a:defRPr sz="1231"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Insights</a:t>
            </a:r>
          </a:p>
        </p:txBody>
      </p:sp>
      <p:sp>
        <p:nvSpPr>
          <p:cNvPr id="4" name="TextBox 3">
            <a:extLst>
              <a:ext uri="{FF2B5EF4-FFF2-40B4-BE49-F238E27FC236}">
                <a16:creationId xmlns:a16="http://schemas.microsoft.com/office/drawing/2014/main" id="{7FBF1BC0-5B15-26AC-BA75-56D71DBA808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2A7F05FF-F925-80D3-46C4-898860862871}"/>
              </a:ext>
            </a:extLst>
          </p:cNvPr>
          <p:cNvSpPr>
            <a:spLocks noGrp="1"/>
          </p:cNvSpPr>
          <p:nvPr>
            <p:ph type="title" hasCustomPrompt="1"/>
          </p:nvPr>
        </p:nvSpPr>
        <p:spPr>
          <a:xfrm>
            <a:off x="582837" y="436518"/>
            <a:ext cx="6605481"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5A7C2AE5-C70E-2193-54A1-CF6F7D412FDF}"/>
              </a:ext>
            </a:extLst>
          </p:cNvPr>
          <p:cNvSpPr>
            <a:spLocks noGrp="1"/>
          </p:cNvSpPr>
          <p:nvPr>
            <p:ph type="body" sz="quarter" idx="15" hasCustomPrompt="1"/>
          </p:nvPr>
        </p:nvSpPr>
        <p:spPr>
          <a:xfrm>
            <a:off x="582837" y="1150817"/>
            <a:ext cx="6605481"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30EF0107-D2CE-33F5-1191-2527981244F4}"/>
              </a:ext>
            </a:extLst>
          </p:cNvPr>
          <p:cNvSpPr>
            <a:spLocks noGrp="1"/>
          </p:cNvSpPr>
          <p:nvPr>
            <p:ph type="body" sz="quarter" idx="33"/>
          </p:nvPr>
        </p:nvSpPr>
        <p:spPr>
          <a:xfrm>
            <a:off x="582567" y="1666700"/>
            <a:ext cx="6605481"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0144329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ird page Quote 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B50DC0-7C9E-710F-6B53-E8A47942AF4E}"/>
              </a:ext>
            </a:extLst>
          </p:cNvPr>
          <p:cNvGraphicFramePr>
            <a:graphicFrameLocks noChangeAspect="1"/>
          </p:cNvGraphicFramePr>
          <p:nvPr userDrawn="1">
            <p:custDataLst>
              <p:tags r:id="rId1"/>
            </p:custDataLst>
            <p:extLst>
              <p:ext uri="{D42A27DB-BD31-4B8C-83A1-F6EECF244321}">
                <p14:modId xmlns:p14="http://schemas.microsoft.com/office/powerpoint/2010/main" val="2865218042"/>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15B50DC0-7C9E-710F-6B53-E8A47942AF4E}"/>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2" name="Rectangle 11"/>
          <p:cNvSpPr/>
          <p:nvPr userDrawn="1"/>
        </p:nvSpPr>
        <p:spPr>
          <a:xfrm>
            <a:off x="6416967" y="120930"/>
            <a:ext cx="4274134" cy="743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8" name="Text Placeholder 3"/>
          <p:cNvSpPr>
            <a:spLocks noGrp="1"/>
          </p:cNvSpPr>
          <p:nvPr>
            <p:ph type="body" sz="quarter" idx="15" hasCustomPrompt="1"/>
          </p:nvPr>
        </p:nvSpPr>
        <p:spPr>
          <a:xfrm>
            <a:off x="6877472" y="5922975"/>
            <a:ext cx="3263884" cy="485495"/>
          </a:xfrm>
        </p:spPr>
        <p:txBody>
          <a:bodyPr anchor="ctr"/>
          <a:lstStyle>
            <a:lvl1pPr algn="r" rtl="0">
              <a:defRPr sz="1025"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 Speaker</a:t>
            </a:r>
          </a:p>
        </p:txBody>
      </p:sp>
      <p:sp>
        <p:nvSpPr>
          <p:cNvPr id="14" name="Text Placeholder 3"/>
          <p:cNvSpPr>
            <a:spLocks noGrp="1"/>
          </p:cNvSpPr>
          <p:nvPr>
            <p:ph type="body" sz="quarter" idx="14" hasCustomPrompt="1"/>
          </p:nvPr>
        </p:nvSpPr>
        <p:spPr>
          <a:xfrm>
            <a:off x="6877472" y="2007508"/>
            <a:ext cx="3263884" cy="2778798"/>
          </a:xfrm>
        </p:spPr>
        <p:txBody>
          <a:bodyPr anchor="ctr"/>
          <a:lstStyle>
            <a:lvl1pPr algn="ctr" rtl="0">
              <a:defRPr sz="1435"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Quote</a:t>
            </a:r>
          </a:p>
        </p:txBody>
      </p:sp>
      <p:sp>
        <p:nvSpPr>
          <p:cNvPr id="16" name="Freeform 15"/>
          <p:cNvSpPr>
            <a:spLocks noChangeAspect="1" noEditPoints="1"/>
          </p:cNvSpPr>
          <p:nvPr userDrawn="1"/>
        </p:nvSpPr>
        <p:spPr bwMode="auto">
          <a:xfrm>
            <a:off x="6877471" y="1478825"/>
            <a:ext cx="455868"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17" name="Freeform 16"/>
          <p:cNvSpPr>
            <a:spLocks noChangeAspect="1" noEditPoints="1"/>
          </p:cNvSpPr>
          <p:nvPr userDrawn="1"/>
        </p:nvSpPr>
        <p:spPr bwMode="auto">
          <a:xfrm rot="10800000">
            <a:off x="9685489" y="4937349"/>
            <a:ext cx="455868"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4" name="TextBox 3">
            <a:extLst>
              <a:ext uri="{FF2B5EF4-FFF2-40B4-BE49-F238E27FC236}">
                <a16:creationId xmlns:a16="http://schemas.microsoft.com/office/drawing/2014/main" id="{6A1C3F1E-A22A-1783-0B25-6E164E67EE65}"/>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AD17C4DA-5913-F902-1787-DFA0238ECB36}"/>
              </a:ext>
            </a:extLst>
          </p:cNvPr>
          <p:cNvSpPr>
            <a:spLocks noGrp="1"/>
          </p:cNvSpPr>
          <p:nvPr>
            <p:ph type="title" hasCustomPrompt="1"/>
          </p:nvPr>
        </p:nvSpPr>
        <p:spPr>
          <a:xfrm>
            <a:off x="582838" y="436518"/>
            <a:ext cx="5362096"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CFF1911C-6473-121B-BDD9-09B69663393B}"/>
              </a:ext>
            </a:extLst>
          </p:cNvPr>
          <p:cNvSpPr>
            <a:spLocks noGrp="1"/>
          </p:cNvSpPr>
          <p:nvPr>
            <p:ph type="body" sz="quarter" idx="16" hasCustomPrompt="1"/>
          </p:nvPr>
        </p:nvSpPr>
        <p:spPr>
          <a:xfrm>
            <a:off x="582838" y="1150817"/>
            <a:ext cx="5362096"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837C80AD-7E7E-7373-5DEF-206478451C4B}"/>
              </a:ext>
            </a:extLst>
          </p:cNvPr>
          <p:cNvSpPr>
            <a:spLocks noGrp="1"/>
          </p:cNvSpPr>
          <p:nvPr>
            <p:ph type="body" sz="quarter" idx="33"/>
          </p:nvPr>
        </p:nvSpPr>
        <p:spPr>
          <a:xfrm>
            <a:off x="582568" y="1666700"/>
            <a:ext cx="5362096"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242981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alf page Quote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86FC98-ECE8-9E11-B38B-68B13D40D1C4}"/>
              </a:ext>
            </a:extLst>
          </p:cNvPr>
          <p:cNvGraphicFramePr>
            <a:graphicFrameLocks noChangeAspect="1"/>
          </p:cNvGraphicFramePr>
          <p:nvPr userDrawn="1">
            <p:custDataLst>
              <p:tags r:id="rId1"/>
            </p:custDataLst>
            <p:extLst>
              <p:ext uri="{D42A27DB-BD31-4B8C-83A1-F6EECF244321}">
                <p14:modId xmlns:p14="http://schemas.microsoft.com/office/powerpoint/2010/main" val="2901785075"/>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A986FC98-ECE8-9E11-B38B-68B13D40D1C4}"/>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1478A97-9E83-C98F-7D20-568160BF44BF}"/>
              </a:ext>
            </a:extLst>
          </p:cNvPr>
          <p:cNvSpPr/>
          <p:nvPr userDrawn="1"/>
        </p:nvSpPr>
        <p:spPr>
          <a:xfrm>
            <a:off x="6416967" y="120930"/>
            <a:ext cx="4274134" cy="7438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7" name="Freeform 16"/>
          <p:cNvSpPr>
            <a:spLocks noChangeAspect="1" noEditPoints="1"/>
          </p:cNvSpPr>
          <p:nvPr userDrawn="1"/>
        </p:nvSpPr>
        <p:spPr bwMode="auto">
          <a:xfrm>
            <a:off x="6877473" y="1512385"/>
            <a:ext cx="455872"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19" name="Freeform 18"/>
          <p:cNvSpPr>
            <a:spLocks noChangeAspect="1" noEditPoints="1"/>
          </p:cNvSpPr>
          <p:nvPr userDrawn="1"/>
        </p:nvSpPr>
        <p:spPr bwMode="auto">
          <a:xfrm rot="10800000">
            <a:off x="9685486" y="4914002"/>
            <a:ext cx="455872"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4" name="TextBox 3">
            <a:extLst>
              <a:ext uri="{FF2B5EF4-FFF2-40B4-BE49-F238E27FC236}">
                <a16:creationId xmlns:a16="http://schemas.microsoft.com/office/drawing/2014/main" id="{4EF9920A-0953-D045-E2A1-EDBC17D37990}"/>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2D4192AD-F3CC-63D5-BEE9-A1C9C155E19E}"/>
              </a:ext>
            </a:extLst>
          </p:cNvPr>
          <p:cNvSpPr>
            <a:spLocks noGrp="1"/>
          </p:cNvSpPr>
          <p:nvPr>
            <p:ph type="title" hasCustomPrompt="1"/>
          </p:nvPr>
        </p:nvSpPr>
        <p:spPr>
          <a:xfrm>
            <a:off x="582838" y="436518"/>
            <a:ext cx="5362096"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CCC920A1-70D0-9BA6-C800-A1485C98100C}"/>
              </a:ext>
            </a:extLst>
          </p:cNvPr>
          <p:cNvSpPr>
            <a:spLocks noGrp="1"/>
          </p:cNvSpPr>
          <p:nvPr>
            <p:ph type="body" sz="quarter" idx="16" hasCustomPrompt="1"/>
          </p:nvPr>
        </p:nvSpPr>
        <p:spPr>
          <a:xfrm>
            <a:off x="582838" y="1150817"/>
            <a:ext cx="5362096"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CDA60427-8F85-80BC-822F-3CEC2390FE7F}"/>
              </a:ext>
            </a:extLst>
          </p:cNvPr>
          <p:cNvSpPr>
            <a:spLocks noGrp="1"/>
          </p:cNvSpPr>
          <p:nvPr>
            <p:ph type="body" sz="quarter" idx="33"/>
          </p:nvPr>
        </p:nvSpPr>
        <p:spPr>
          <a:xfrm>
            <a:off x="582568" y="1666700"/>
            <a:ext cx="5362096"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1AB5B7EB-30A4-5B0C-2B70-95DAA7CB3703}"/>
              </a:ext>
            </a:extLst>
          </p:cNvPr>
          <p:cNvSpPr>
            <a:spLocks noGrp="1"/>
          </p:cNvSpPr>
          <p:nvPr>
            <p:ph type="body" sz="quarter" idx="15" hasCustomPrompt="1"/>
          </p:nvPr>
        </p:nvSpPr>
        <p:spPr>
          <a:xfrm>
            <a:off x="6877472" y="5922975"/>
            <a:ext cx="3263884" cy="485495"/>
          </a:xfrm>
        </p:spPr>
        <p:txBody>
          <a:bodyPr anchor="ctr"/>
          <a:lstStyle>
            <a:lvl1pPr algn="r" rtl="0">
              <a:defRPr sz="1025"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 Speaker</a:t>
            </a:r>
          </a:p>
        </p:txBody>
      </p:sp>
      <p:sp>
        <p:nvSpPr>
          <p:cNvPr id="13" name="Text Placeholder 3">
            <a:extLst>
              <a:ext uri="{FF2B5EF4-FFF2-40B4-BE49-F238E27FC236}">
                <a16:creationId xmlns:a16="http://schemas.microsoft.com/office/drawing/2014/main" id="{37C8A9ED-B7AA-25B0-EE1B-420195756DBE}"/>
              </a:ext>
            </a:extLst>
          </p:cNvPr>
          <p:cNvSpPr>
            <a:spLocks noGrp="1"/>
          </p:cNvSpPr>
          <p:nvPr>
            <p:ph type="body" sz="quarter" idx="14" hasCustomPrompt="1"/>
          </p:nvPr>
        </p:nvSpPr>
        <p:spPr>
          <a:xfrm>
            <a:off x="6877472" y="2007508"/>
            <a:ext cx="3263884" cy="2778798"/>
          </a:xfrm>
        </p:spPr>
        <p:txBody>
          <a:bodyPr anchor="ctr"/>
          <a:lstStyle>
            <a:lvl1pPr algn="ctr" rtl="0">
              <a:defRPr sz="1435"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Quote</a:t>
            </a:r>
          </a:p>
        </p:txBody>
      </p:sp>
    </p:spTree>
    <p:extLst>
      <p:ext uri="{BB962C8B-B14F-4D97-AF65-F5344CB8AC3E}">
        <p14:creationId xmlns:p14="http://schemas.microsoft.com/office/powerpoint/2010/main" val="3214153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oC_generic gre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EA4EB7-4013-4E4C-9AB8-A1BC735A24C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2150" y="1"/>
            <a:ext cx="10689664" cy="6478604"/>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18916609"/>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715" y="1751"/>
                        <a:ext cx="1713" cy="1749"/>
                      </a:xfrm>
                      <a:prstGeom prst="rect">
                        <a:avLst/>
                      </a:prstGeom>
                    </p:spPr>
                  </p:pic>
                </p:oleObj>
              </mc:Fallback>
            </mc:AlternateContent>
          </a:graphicData>
        </a:graphic>
      </p:graphicFrame>
      <p:pic>
        <p:nvPicPr>
          <p:cNvPr id="9" name="Picture 8" descr="A picture containing drawing&#10;&#10;Description automatically generated">
            <a:extLst>
              <a:ext uri="{FF2B5EF4-FFF2-40B4-BE49-F238E27FC236}">
                <a16:creationId xmlns:a16="http://schemas.microsoft.com/office/drawing/2014/main" id="{4E5F4078-34D5-4506-9BA6-DB400F8198C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64296" y="7032562"/>
            <a:ext cx="717097" cy="209737"/>
          </a:xfrm>
          <a:prstGeom prst="rect">
            <a:avLst/>
          </a:prstGeom>
        </p:spPr>
      </p:pic>
      <p:sp>
        <p:nvSpPr>
          <p:cNvPr id="2" name="Text Placeholder 13">
            <a:extLst>
              <a:ext uri="{FF2B5EF4-FFF2-40B4-BE49-F238E27FC236}">
                <a16:creationId xmlns:a16="http://schemas.microsoft.com/office/drawing/2014/main" id="{3B9B0A84-D594-91B9-301A-C4176ECC3D56}"/>
              </a:ext>
            </a:extLst>
          </p:cNvPr>
          <p:cNvSpPr>
            <a:spLocks noGrp="1"/>
          </p:cNvSpPr>
          <p:nvPr>
            <p:ph type="body" sz="quarter" idx="11" hasCustomPrompt="1"/>
          </p:nvPr>
        </p:nvSpPr>
        <p:spPr>
          <a:xfrm>
            <a:off x="582839" y="5357251"/>
            <a:ext cx="6022645" cy="373177"/>
          </a:xfrm>
        </p:spPr>
        <p:txBody>
          <a:bodyPr/>
          <a:lstStyle>
            <a:lvl1pPr rtl="0">
              <a:spcBef>
                <a:spcPts val="1231"/>
              </a:spcBef>
              <a:defRPr sz="1641" baseline="0">
                <a:solidFill>
                  <a:schemeClr val="bg2"/>
                </a:solidFill>
              </a:defRPr>
            </a:lvl1pPr>
            <a:lvl2pPr>
              <a:defRPr sz="1435">
                <a:solidFill>
                  <a:schemeClr val="bg1"/>
                </a:solidFill>
              </a:defRPr>
            </a:lvl2pPr>
            <a:lvl3pPr>
              <a:defRPr sz="1435">
                <a:solidFill>
                  <a:schemeClr val="bg1"/>
                </a:solidFill>
              </a:defRPr>
            </a:lvl3pPr>
            <a:lvl4pPr>
              <a:defRPr sz="1435">
                <a:solidFill>
                  <a:schemeClr val="bg1"/>
                </a:solidFill>
              </a:defRPr>
            </a:lvl4pPr>
            <a:lvl5pPr>
              <a:defRPr sz="1435">
                <a:solidFill>
                  <a:schemeClr val="bg1"/>
                </a:solidFill>
              </a:defRPr>
            </a:lvl5pPr>
          </a:lstStyle>
          <a:p>
            <a:pPr lvl="0"/>
            <a:r>
              <a:rPr lang="en-AU" noProof="0"/>
              <a:t>From the Land of xx people</a:t>
            </a:r>
          </a:p>
        </p:txBody>
      </p:sp>
      <p:sp>
        <p:nvSpPr>
          <p:cNvPr id="5" name="Text Placeholder 10">
            <a:extLst>
              <a:ext uri="{FF2B5EF4-FFF2-40B4-BE49-F238E27FC236}">
                <a16:creationId xmlns:a16="http://schemas.microsoft.com/office/drawing/2014/main" id="{8A67127B-3AB8-9D9F-7704-05682FF99591}"/>
              </a:ext>
            </a:extLst>
          </p:cNvPr>
          <p:cNvSpPr>
            <a:spLocks noGrp="1"/>
          </p:cNvSpPr>
          <p:nvPr>
            <p:ph type="body" sz="quarter" idx="10" hasCustomPrompt="1"/>
          </p:nvPr>
        </p:nvSpPr>
        <p:spPr>
          <a:xfrm>
            <a:off x="582837" y="4762001"/>
            <a:ext cx="8222338" cy="610664"/>
          </a:xfrm>
        </p:spPr>
        <p:txBody>
          <a:bodyPr anchor="b" anchorCtr="0">
            <a:noAutofit/>
          </a:bodyPr>
          <a:lstStyle>
            <a:lvl1pPr rtl="0">
              <a:defRPr sz="3076">
                <a:solidFill>
                  <a:schemeClr val="bg2"/>
                </a:solidFill>
                <a:latin typeface="Segoe UI Semibold" panose="020B0702040204020203" pitchFamily="34" charset="0"/>
              </a:defRPr>
            </a:lvl1pPr>
            <a:lvl5pPr>
              <a:defRPr/>
            </a:lvl5pPr>
          </a:lstStyle>
          <a:p>
            <a:pPr lvl="0"/>
            <a:r>
              <a:rPr lang="en-AU" noProof="0"/>
              <a:t>Acknowledgement of Country</a:t>
            </a:r>
          </a:p>
        </p:txBody>
      </p:sp>
    </p:spTree>
    <p:extLst>
      <p:ext uri="{BB962C8B-B14F-4D97-AF65-F5344CB8AC3E}">
        <p14:creationId xmlns:p14="http://schemas.microsoft.com/office/powerpoint/2010/main" val="30353945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alf page Quote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682867-AE09-E310-EF4B-8AC9F55BE61C}"/>
              </a:ext>
            </a:extLst>
          </p:cNvPr>
          <p:cNvGraphicFramePr>
            <a:graphicFrameLocks noChangeAspect="1"/>
          </p:cNvGraphicFramePr>
          <p:nvPr userDrawn="1">
            <p:custDataLst>
              <p:tags r:id="rId1"/>
            </p:custDataLst>
            <p:extLst>
              <p:ext uri="{D42A27DB-BD31-4B8C-83A1-F6EECF244321}">
                <p14:modId xmlns:p14="http://schemas.microsoft.com/office/powerpoint/2010/main" val="2491086312"/>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86682867-AE09-E310-EF4B-8AC9F55BE61C}"/>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4" name="Rectangle 13"/>
          <p:cNvSpPr/>
          <p:nvPr userDrawn="1"/>
        </p:nvSpPr>
        <p:spPr>
          <a:xfrm>
            <a:off x="2" y="120930"/>
            <a:ext cx="4274134" cy="743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9" name="Text Placeholder 3"/>
          <p:cNvSpPr>
            <a:spLocks noGrp="1"/>
          </p:cNvSpPr>
          <p:nvPr>
            <p:ph type="body" sz="quarter" idx="15" hasCustomPrompt="1"/>
          </p:nvPr>
        </p:nvSpPr>
        <p:spPr>
          <a:xfrm>
            <a:off x="582837" y="5922975"/>
            <a:ext cx="3263884" cy="485495"/>
          </a:xfrm>
        </p:spPr>
        <p:txBody>
          <a:bodyPr anchor="ctr"/>
          <a:lstStyle>
            <a:lvl1pPr algn="r" rtl="0">
              <a:defRPr sz="1025"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 Speaker</a:t>
            </a:r>
          </a:p>
        </p:txBody>
      </p:sp>
      <p:sp>
        <p:nvSpPr>
          <p:cNvPr id="15" name="Text Placeholder 3"/>
          <p:cNvSpPr>
            <a:spLocks noGrp="1"/>
          </p:cNvSpPr>
          <p:nvPr>
            <p:ph type="body" sz="quarter" idx="14" hasCustomPrompt="1"/>
          </p:nvPr>
        </p:nvSpPr>
        <p:spPr>
          <a:xfrm>
            <a:off x="582837" y="2007508"/>
            <a:ext cx="3263884" cy="2778798"/>
          </a:xfrm>
        </p:spPr>
        <p:txBody>
          <a:bodyPr anchor="ctr"/>
          <a:lstStyle>
            <a:lvl1pPr algn="ctr" rtl="0">
              <a:defRPr sz="1435"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Quote</a:t>
            </a:r>
          </a:p>
        </p:txBody>
      </p:sp>
      <p:sp>
        <p:nvSpPr>
          <p:cNvPr id="25" name="Freeform 24"/>
          <p:cNvSpPr>
            <a:spLocks noChangeAspect="1" noEditPoints="1"/>
          </p:cNvSpPr>
          <p:nvPr userDrawn="1"/>
        </p:nvSpPr>
        <p:spPr bwMode="auto">
          <a:xfrm>
            <a:off x="582835" y="1478825"/>
            <a:ext cx="455868"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26" name="Freeform 25"/>
          <p:cNvSpPr>
            <a:spLocks noChangeAspect="1" noEditPoints="1"/>
          </p:cNvSpPr>
          <p:nvPr userDrawn="1"/>
        </p:nvSpPr>
        <p:spPr bwMode="auto">
          <a:xfrm rot="10800000">
            <a:off x="3390855" y="4937349"/>
            <a:ext cx="455868"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4" name="TextBox 3">
            <a:extLst>
              <a:ext uri="{FF2B5EF4-FFF2-40B4-BE49-F238E27FC236}">
                <a16:creationId xmlns:a16="http://schemas.microsoft.com/office/drawing/2014/main" id="{993E3FBE-7FB5-942C-B2A2-D5E9B3AA7AD2}"/>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itle 1">
            <a:extLst>
              <a:ext uri="{FF2B5EF4-FFF2-40B4-BE49-F238E27FC236}">
                <a16:creationId xmlns:a16="http://schemas.microsoft.com/office/drawing/2014/main" id="{13F5D99A-CF9F-AA97-6D84-AE30C7C9AF03}"/>
              </a:ext>
            </a:extLst>
          </p:cNvPr>
          <p:cNvSpPr>
            <a:spLocks noGrp="1"/>
          </p:cNvSpPr>
          <p:nvPr>
            <p:ph type="title" hasCustomPrompt="1"/>
          </p:nvPr>
        </p:nvSpPr>
        <p:spPr>
          <a:xfrm>
            <a:off x="4779262" y="436518"/>
            <a:ext cx="5362096"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10" name="Text Placeholder 5">
            <a:extLst>
              <a:ext uri="{FF2B5EF4-FFF2-40B4-BE49-F238E27FC236}">
                <a16:creationId xmlns:a16="http://schemas.microsoft.com/office/drawing/2014/main" id="{8D4420E5-F6B2-DFD1-689F-478A4EE8E860}"/>
              </a:ext>
            </a:extLst>
          </p:cNvPr>
          <p:cNvSpPr>
            <a:spLocks noGrp="1"/>
          </p:cNvSpPr>
          <p:nvPr>
            <p:ph type="body" sz="quarter" idx="16" hasCustomPrompt="1"/>
          </p:nvPr>
        </p:nvSpPr>
        <p:spPr>
          <a:xfrm>
            <a:off x="4779262" y="1150817"/>
            <a:ext cx="5362096" cy="476200"/>
          </a:xfrm>
        </p:spPr>
        <p:txBody>
          <a:bodyPr/>
          <a:lstStyle>
            <a:lvl1pPr rtl="0">
              <a:defRPr sz="1127">
                <a:solidFill>
                  <a:schemeClr val="bg2"/>
                </a:solidFill>
              </a:defRPr>
            </a:lvl1pPr>
          </a:lstStyle>
          <a:p>
            <a:pPr lvl="0"/>
            <a:r>
              <a:rPr lang="en-AU" noProof="0"/>
              <a:t>Intro text (2 lines max)</a:t>
            </a:r>
          </a:p>
        </p:txBody>
      </p:sp>
      <p:sp>
        <p:nvSpPr>
          <p:cNvPr id="11" name="Text Placeholder 4">
            <a:extLst>
              <a:ext uri="{FF2B5EF4-FFF2-40B4-BE49-F238E27FC236}">
                <a16:creationId xmlns:a16="http://schemas.microsoft.com/office/drawing/2014/main" id="{1E252001-BF37-3A28-8B35-B05CB523F118}"/>
              </a:ext>
            </a:extLst>
          </p:cNvPr>
          <p:cNvSpPr>
            <a:spLocks noGrp="1"/>
          </p:cNvSpPr>
          <p:nvPr>
            <p:ph type="body" sz="quarter" idx="33"/>
          </p:nvPr>
        </p:nvSpPr>
        <p:spPr>
          <a:xfrm>
            <a:off x="4779262" y="1666700"/>
            <a:ext cx="5362096"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3961348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alf Page Quote Right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C45E05-A0C5-330F-56BF-D16BAE3407B1}"/>
              </a:ext>
            </a:extLst>
          </p:cNvPr>
          <p:cNvGraphicFramePr>
            <a:graphicFrameLocks noChangeAspect="1"/>
          </p:cNvGraphicFramePr>
          <p:nvPr userDrawn="1">
            <p:custDataLst>
              <p:tags r:id="rId1"/>
            </p:custDataLst>
            <p:extLst>
              <p:ext uri="{D42A27DB-BD31-4B8C-83A1-F6EECF244321}">
                <p14:modId xmlns:p14="http://schemas.microsoft.com/office/powerpoint/2010/main" val="95245177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C7C45E05-A0C5-330F-56BF-D16BAE3407B1}"/>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9ABE496-98C2-4204-97AF-3627F7AF5B6A}"/>
              </a:ext>
            </a:extLst>
          </p:cNvPr>
          <p:cNvSpPr/>
          <p:nvPr userDrawn="1"/>
        </p:nvSpPr>
        <p:spPr>
          <a:xfrm>
            <a:off x="2" y="120930"/>
            <a:ext cx="4274134" cy="7438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9" name="Freeform 18"/>
          <p:cNvSpPr>
            <a:spLocks noChangeAspect="1" noEditPoints="1"/>
          </p:cNvSpPr>
          <p:nvPr userDrawn="1"/>
        </p:nvSpPr>
        <p:spPr bwMode="auto">
          <a:xfrm>
            <a:off x="582837" y="1512385"/>
            <a:ext cx="455872"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20" name="Freeform 19"/>
          <p:cNvSpPr>
            <a:spLocks noChangeAspect="1" noEditPoints="1"/>
          </p:cNvSpPr>
          <p:nvPr userDrawn="1"/>
        </p:nvSpPr>
        <p:spPr bwMode="auto">
          <a:xfrm rot="10800000">
            <a:off x="3390851" y="4914002"/>
            <a:ext cx="455872" cy="373969"/>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3771" tIns="46886" rIns="93771" bIns="46886" numCol="1" anchor="t" anchorCtr="0" compatLnSpc="1">
            <a:prstTxWarp prst="textNoShape">
              <a:avLst/>
            </a:prstTxWarp>
          </a:bodyPr>
          <a:lstStyle/>
          <a:p>
            <a:pPr rtl="0" eaLnBrk="1"/>
            <a:endParaRPr lang="en-AU" sz="1846" noProof="0"/>
          </a:p>
        </p:txBody>
      </p:sp>
      <p:sp>
        <p:nvSpPr>
          <p:cNvPr id="4" name="Title 1">
            <a:extLst>
              <a:ext uri="{FF2B5EF4-FFF2-40B4-BE49-F238E27FC236}">
                <a16:creationId xmlns:a16="http://schemas.microsoft.com/office/drawing/2014/main" id="{7525DACE-020A-851B-EAED-013FB039F814}"/>
              </a:ext>
            </a:extLst>
          </p:cNvPr>
          <p:cNvSpPr>
            <a:spLocks noGrp="1"/>
          </p:cNvSpPr>
          <p:nvPr>
            <p:ph type="title" hasCustomPrompt="1"/>
          </p:nvPr>
        </p:nvSpPr>
        <p:spPr>
          <a:xfrm>
            <a:off x="4779262" y="436518"/>
            <a:ext cx="5362096"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5" name="TextBox 4">
            <a:extLst>
              <a:ext uri="{FF2B5EF4-FFF2-40B4-BE49-F238E27FC236}">
                <a16:creationId xmlns:a16="http://schemas.microsoft.com/office/drawing/2014/main" id="{0C127314-C0DF-30EE-156B-6C6E2C24E62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ext Placeholder 5">
            <a:extLst>
              <a:ext uri="{FF2B5EF4-FFF2-40B4-BE49-F238E27FC236}">
                <a16:creationId xmlns:a16="http://schemas.microsoft.com/office/drawing/2014/main" id="{33F467B4-BA06-F435-7EFE-EF3B7918CCCC}"/>
              </a:ext>
            </a:extLst>
          </p:cNvPr>
          <p:cNvSpPr>
            <a:spLocks noGrp="1"/>
          </p:cNvSpPr>
          <p:nvPr>
            <p:ph type="body" sz="quarter" idx="16" hasCustomPrompt="1"/>
          </p:nvPr>
        </p:nvSpPr>
        <p:spPr>
          <a:xfrm>
            <a:off x="4779262" y="1150817"/>
            <a:ext cx="5362096" cy="476200"/>
          </a:xfrm>
        </p:spPr>
        <p:txBody>
          <a:bodyPr/>
          <a:lstStyle>
            <a:lvl1pPr rtl="0">
              <a:defRPr sz="1127">
                <a:solidFill>
                  <a:schemeClr val="bg2"/>
                </a:solidFill>
              </a:defRPr>
            </a:lvl1pPr>
          </a:lstStyle>
          <a:p>
            <a:pPr lvl="0"/>
            <a:r>
              <a:rPr lang="en-AU" noProof="0"/>
              <a:t>Intro text (2 lines max)</a:t>
            </a:r>
          </a:p>
        </p:txBody>
      </p:sp>
      <p:sp>
        <p:nvSpPr>
          <p:cNvPr id="7" name="Text Placeholder 4">
            <a:extLst>
              <a:ext uri="{FF2B5EF4-FFF2-40B4-BE49-F238E27FC236}">
                <a16:creationId xmlns:a16="http://schemas.microsoft.com/office/drawing/2014/main" id="{A99D5935-87BD-4CA4-E876-54105CD85504}"/>
              </a:ext>
            </a:extLst>
          </p:cNvPr>
          <p:cNvSpPr>
            <a:spLocks noGrp="1"/>
          </p:cNvSpPr>
          <p:nvPr>
            <p:ph type="body" sz="quarter" idx="33"/>
          </p:nvPr>
        </p:nvSpPr>
        <p:spPr>
          <a:xfrm>
            <a:off x="4779262" y="1666700"/>
            <a:ext cx="5362096"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1BC01046-E752-82F8-467D-183204A50A93}"/>
              </a:ext>
            </a:extLst>
          </p:cNvPr>
          <p:cNvSpPr>
            <a:spLocks noGrp="1"/>
          </p:cNvSpPr>
          <p:nvPr>
            <p:ph type="body" sz="quarter" idx="15" hasCustomPrompt="1"/>
          </p:nvPr>
        </p:nvSpPr>
        <p:spPr>
          <a:xfrm>
            <a:off x="582837" y="5922975"/>
            <a:ext cx="3263884" cy="485495"/>
          </a:xfrm>
        </p:spPr>
        <p:txBody>
          <a:bodyPr anchor="ctr"/>
          <a:lstStyle>
            <a:lvl1pPr algn="r" rtl="0">
              <a:defRPr sz="1025"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 Speaker</a:t>
            </a:r>
          </a:p>
        </p:txBody>
      </p:sp>
      <p:sp>
        <p:nvSpPr>
          <p:cNvPr id="10" name="Text Placeholder 3">
            <a:extLst>
              <a:ext uri="{FF2B5EF4-FFF2-40B4-BE49-F238E27FC236}">
                <a16:creationId xmlns:a16="http://schemas.microsoft.com/office/drawing/2014/main" id="{C7C80356-46A1-0C97-DC02-98F87FC7A382}"/>
              </a:ext>
            </a:extLst>
          </p:cNvPr>
          <p:cNvSpPr>
            <a:spLocks noGrp="1"/>
          </p:cNvSpPr>
          <p:nvPr>
            <p:ph type="body" sz="quarter" idx="14" hasCustomPrompt="1"/>
          </p:nvPr>
        </p:nvSpPr>
        <p:spPr>
          <a:xfrm>
            <a:off x="582837" y="2007508"/>
            <a:ext cx="3263884" cy="2778798"/>
          </a:xfrm>
        </p:spPr>
        <p:txBody>
          <a:bodyPr anchor="ctr"/>
          <a:lstStyle>
            <a:lvl1pPr algn="ctr" rtl="0">
              <a:defRPr sz="1435"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Quote</a:t>
            </a:r>
          </a:p>
        </p:txBody>
      </p:sp>
    </p:spTree>
    <p:extLst>
      <p:ext uri="{BB962C8B-B14F-4D97-AF65-F5344CB8AC3E}">
        <p14:creationId xmlns:p14="http://schemas.microsoft.com/office/powerpoint/2010/main" val="25369838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s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6D06FB-5A14-3E9C-9549-E80F5F0095FD}"/>
              </a:ext>
            </a:extLst>
          </p:cNvPr>
          <p:cNvGraphicFramePr>
            <a:graphicFrameLocks noChangeAspect="1"/>
          </p:cNvGraphicFramePr>
          <p:nvPr userDrawn="1">
            <p:custDataLst>
              <p:tags r:id="rId1"/>
            </p:custDataLst>
            <p:extLst>
              <p:ext uri="{D42A27DB-BD31-4B8C-83A1-F6EECF244321}">
                <p14:modId xmlns:p14="http://schemas.microsoft.com/office/powerpoint/2010/main" val="100102902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B26D06FB-5A14-3E9C-9549-E80F5F0095FD}"/>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2" name="Rectangle 11"/>
          <p:cNvSpPr/>
          <p:nvPr userDrawn="1"/>
        </p:nvSpPr>
        <p:spPr>
          <a:xfrm>
            <a:off x="6417679" y="120930"/>
            <a:ext cx="4274134" cy="743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37" name="Text Placeholder 3"/>
          <p:cNvSpPr>
            <a:spLocks noGrp="1"/>
          </p:cNvSpPr>
          <p:nvPr>
            <p:ph type="body" sz="quarter" idx="14" hasCustomPrompt="1"/>
          </p:nvPr>
        </p:nvSpPr>
        <p:spPr>
          <a:xfrm>
            <a:off x="6895398" y="2351080"/>
            <a:ext cx="3245958" cy="2778798"/>
          </a:xfrm>
        </p:spPr>
        <p:txBody>
          <a:bodyPr anchor="ctr"/>
          <a:lstStyle>
            <a:lvl1pPr algn="ctr" rtl="0">
              <a:defRPr sz="1435"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Insight</a:t>
            </a:r>
          </a:p>
        </p:txBody>
      </p:sp>
      <p:sp>
        <p:nvSpPr>
          <p:cNvPr id="4" name="TextBox 3">
            <a:extLst>
              <a:ext uri="{FF2B5EF4-FFF2-40B4-BE49-F238E27FC236}">
                <a16:creationId xmlns:a16="http://schemas.microsoft.com/office/drawing/2014/main" id="{7C1255D4-5913-64C0-7FFD-48E00D82F4E6}"/>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5FEF4C76-7B15-5A08-5535-9350FC3C04F8}"/>
              </a:ext>
            </a:extLst>
          </p:cNvPr>
          <p:cNvSpPr>
            <a:spLocks noGrp="1"/>
          </p:cNvSpPr>
          <p:nvPr>
            <p:ph type="title" hasCustomPrompt="1"/>
          </p:nvPr>
        </p:nvSpPr>
        <p:spPr>
          <a:xfrm>
            <a:off x="582838" y="436518"/>
            <a:ext cx="5362096"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2BB7B9CD-F064-38D5-240A-196DAB5252D9}"/>
              </a:ext>
            </a:extLst>
          </p:cNvPr>
          <p:cNvSpPr>
            <a:spLocks noGrp="1"/>
          </p:cNvSpPr>
          <p:nvPr>
            <p:ph type="body" sz="quarter" idx="16" hasCustomPrompt="1"/>
          </p:nvPr>
        </p:nvSpPr>
        <p:spPr>
          <a:xfrm>
            <a:off x="582838" y="1150817"/>
            <a:ext cx="5362096"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4C07AEEE-4773-A124-2B16-1F36D61D27C0}"/>
              </a:ext>
            </a:extLst>
          </p:cNvPr>
          <p:cNvSpPr>
            <a:spLocks noGrp="1"/>
          </p:cNvSpPr>
          <p:nvPr>
            <p:ph type="body" sz="quarter" idx="33"/>
          </p:nvPr>
        </p:nvSpPr>
        <p:spPr>
          <a:xfrm>
            <a:off x="582838" y="1666700"/>
            <a:ext cx="5362096"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3420233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sight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F24C98-243C-9EBA-2919-599CC6255139}"/>
              </a:ext>
            </a:extLst>
          </p:cNvPr>
          <p:cNvGraphicFramePr>
            <a:graphicFrameLocks noChangeAspect="1"/>
          </p:cNvGraphicFramePr>
          <p:nvPr userDrawn="1">
            <p:custDataLst>
              <p:tags r:id="rId1"/>
            </p:custDataLst>
            <p:extLst>
              <p:ext uri="{D42A27DB-BD31-4B8C-83A1-F6EECF244321}">
                <p14:modId xmlns:p14="http://schemas.microsoft.com/office/powerpoint/2010/main" val="968653594"/>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75F24C98-243C-9EBA-2919-599CC6255139}"/>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AC01521-8D3E-30B1-3ADD-CB9975C4D558}"/>
              </a:ext>
            </a:extLst>
          </p:cNvPr>
          <p:cNvSpPr/>
          <p:nvPr userDrawn="1"/>
        </p:nvSpPr>
        <p:spPr>
          <a:xfrm>
            <a:off x="6417679" y="120930"/>
            <a:ext cx="4274134" cy="7438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18" name="Picture 17"/>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5" name="TextBox 4">
            <a:extLst>
              <a:ext uri="{FF2B5EF4-FFF2-40B4-BE49-F238E27FC236}">
                <a16:creationId xmlns:a16="http://schemas.microsoft.com/office/drawing/2014/main" id="{9AB5C7A1-03A1-4CE1-E601-2ED80F4621A1}"/>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99B3F3C6-2BE2-9AC0-C82E-859917004199}"/>
              </a:ext>
            </a:extLst>
          </p:cNvPr>
          <p:cNvSpPr>
            <a:spLocks noGrp="1"/>
          </p:cNvSpPr>
          <p:nvPr>
            <p:ph type="title" hasCustomPrompt="1"/>
          </p:nvPr>
        </p:nvSpPr>
        <p:spPr>
          <a:xfrm>
            <a:off x="582838" y="436518"/>
            <a:ext cx="5362096"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8" name="Text Placeholder 5">
            <a:extLst>
              <a:ext uri="{FF2B5EF4-FFF2-40B4-BE49-F238E27FC236}">
                <a16:creationId xmlns:a16="http://schemas.microsoft.com/office/drawing/2014/main" id="{8AB21CA1-4A0D-3AFE-3AB2-C988D558296A}"/>
              </a:ext>
            </a:extLst>
          </p:cNvPr>
          <p:cNvSpPr>
            <a:spLocks noGrp="1"/>
          </p:cNvSpPr>
          <p:nvPr>
            <p:ph type="body" sz="quarter" idx="16" hasCustomPrompt="1"/>
          </p:nvPr>
        </p:nvSpPr>
        <p:spPr>
          <a:xfrm>
            <a:off x="582838" y="1150817"/>
            <a:ext cx="5362096" cy="476200"/>
          </a:xfrm>
        </p:spPr>
        <p:txBody>
          <a:bodyPr/>
          <a:lstStyle>
            <a:lvl1pPr rtl="0">
              <a:defRPr sz="1127">
                <a:solidFill>
                  <a:schemeClr val="bg2"/>
                </a:solidFill>
              </a:defRPr>
            </a:lvl1pPr>
          </a:lstStyle>
          <a:p>
            <a:pPr lvl="0"/>
            <a:r>
              <a:rPr lang="en-AU" noProof="0"/>
              <a:t>Intro text (2 lines max)</a:t>
            </a:r>
          </a:p>
        </p:txBody>
      </p:sp>
      <p:sp>
        <p:nvSpPr>
          <p:cNvPr id="9" name="Text Placeholder 4">
            <a:extLst>
              <a:ext uri="{FF2B5EF4-FFF2-40B4-BE49-F238E27FC236}">
                <a16:creationId xmlns:a16="http://schemas.microsoft.com/office/drawing/2014/main" id="{1E2471F0-56E9-7AAC-F14A-75DD4A598938}"/>
              </a:ext>
            </a:extLst>
          </p:cNvPr>
          <p:cNvSpPr>
            <a:spLocks noGrp="1"/>
          </p:cNvSpPr>
          <p:nvPr>
            <p:ph type="body" sz="quarter" idx="33"/>
          </p:nvPr>
        </p:nvSpPr>
        <p:spPr>
          <a:xfrm>
            <a:off x="582838" y="1666700"/>
            <a:ext cx="5362096"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AAF56CD9-761F-FFD4-679B-E07408106A89}"/>
              </a:ext>
            </a:extLst>
          </p:cNvPr>
          <p:cNvSpPr>
            <a:spLocks noGrp="1"/>
          </p:cNvSpPr>
          <p:nvPr>
            <p:ph type="body" sz="quarter" idx="14" hasCustomPrompt="1"/>
          </p:nvPr>
        </p:nvSpPr>
        <p:spPr>
          <a:xfrm>
            <a:off x="6895398" y="2351080"/>
            <a:ext cx="3245958" cy="2778798"/>
          </a:xfrm>
        </p:spPr>
        <p:txBody>
          <a:bodyPr anchor="ctr"/>
          <a:lstStyle>
            <a:lvl1pPr algn="ctr" rtl="0">
              <a:defRPr sz="1435"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Insight</a:t>
            </a:r>
          </a:p>
        </p:txBody>
      </p:sp>
    </p:spTree>
    <p:extLst>
      <p:ext uri="{BB962C8B-B14F-4D97-AF65-F5344CB8AC3E}">
        <p14:creationId xmlns:p14="http://schemas.microsoft.com/office/powerpoint/2010/main" val="2038644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de Panel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4C9918-E232-A38F-79F1-BBBED603436C}"/>
              </a:ext>
            </a:extLst>
          </p:cNvPr>
          <p:cNvGraphicFramePr>
            <a:graphicFrameLocks noChangeAspect="1"/>
          </p:cNvGraphicFramePr>
          <p:nvPr userDrawn="1">
            <p:custDataLst>
              <p:tags r:id="rId1"/>
            </p:custDataLst>
            <p:extLst>
              <p:ext uri="{D42A27DB-BD31-4B8C-83A1-F6EECF244321}">
                <p14:modId xmlns:p14="http://schemas.microsoft.com/office/powerpoint/2010/main" val="2705435510"/>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04C9918-E232-A38F-79F1-BBBED603436C}"/>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0" name="Rectangle 9"/>
          <p:cNvSpPr/>
          <p:nvPr userDrawn="1"/>
        </p:nvSpPr>
        <p:spPr>
          <a:xfrm>
            <a:off x="1" y="120930"/>
            <a:ext cx="3325182" cy="743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4" name="Text Placeholder 4">
            <a:extLst>
              <a:ext uri="{FF2B5EF4-FFF2-40B4-BE49-F238E27FC236}">
                <a16:creationId xmlns:a16="http://schemas.microsoft.com/office/drawing/2014/main" id="{FA4F7214-74F8-8271-2406-379937C62342}"/>
              </a:ext>
            </a:extLst>
          </p:cNvPr>
          <p:cNvSpPr>
            <a:spLocks noGrp="1"/>
          </p:cNvSpPr>
          <p:nvPr>
            <p:ph type="body" sz="quarter" idx="34"/>
          </p:nvPr>
        </p:nvSpPr>
        <p:spPr>
          <a:xfrm>
            <a:off x="582836" y="1001697"/>
            <a:ext cx="2292746" cy="5765054"/>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Picture 20"/>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3" name="Text Placeholder 5"/>
          <p:cNvSpPr>
            <a:spLocks noGrp="1"/>
          </p:cNvSpPr>
          <p:nvPr>
            <p:ph type="body" sz="quarter" idx="14" hasCustomPrompt="1"/>
          </p:nvPr>
        </p:nvSpPr>
        <p:spPr>
          <a:xfrm>
            <a:off x="582838" y="446068"/>
            <a:ext cx="2285897" cy="317502"/>
          </a:xfrm>
        </p:spPr>
        <p:txBody>
          <a:bodyPr anchor="b"/>
          <a:lstStyle>
            <a:lvl1pPr marL="0" marR="0" indent="0" algn="l" defTabSz="937623" rtl="0" eaLnBrk="1" fontAlgn="auto" latinLnBrk="0" hangingPunct="1">
              <a:lnSpc>
                <a:spcPct val="100000"/>
              </a:lnSpc>
              <a:spcBef>
                <a:spcPts val="1231"/>
              </a:spcBef>
              <a:spcAft>
                <a:spcPts val="0"/>
              </a:spcAft>
              <a:buClrTx/>
              <a:buSzTx/>
              <a:buFont typeface="Arial" pitchFamily="34" charset="0"/>
              <a:buNone/>
              <a:tabLst/>
              <a:defRPr sz="1333">
                <a:solidFill>
                  <a:schemeClr val="bg1"/>
                </a:solidFill>
                <a:latin typeface="Segoe UI Semibold" panose="020B0702040204020203" pitchFamily="34" charset="0"/>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marL="0" marR="0" lvl="0" indent="0" algn="l" defTabSz="937623" rtl="0" eaLnBrk="1" fontAlgn="auto" latinLnBrk="0" hangingPunct="1">
              <a:lnSpc>
                <a:spcPct val="100000"/>
              </a:lnSpc>
              <a:spcBef>
                <a:spcPts val="1231"/>
              </a:spcBef>
              <a:spcAft>
                <a:spcPts val="0"/>
              </a:spcAft>
              <a:buClrTx/>
              <a:buSzTx/>
              <a:buFont typeface="Arial" pitchFamily="34" charset="0"/>
              <a:buNone/>
              <a:tabLst/>
              <a:defRPr/>
            </a:pPr>
            <a:r>
              <a:rPr lang="en-AU" noProof="0"/>
              <a:t>Title</a:t>
            </a:r>
          </a:p>
        </p:txBody>
      </p:sp>
      <p:cxnSp>
        <p:nvCxnSpPr>
          <p:cNvPr id="15" name="Straight Connector 14"/>
          <p:cNvCxnSpPr/>
          <p:nvPr userDrawn="1"/>
        </p:nvCxnSpPr>
        <p:spPr>
          <a:xfrm>
            <a:off x="582836" y="842945"/>
            <a:ext cx="229274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DE2A97F9-76E5-6741-CA59-607B14E9C985}"/>
              </a:ext>
            </a:extLst>
          </p:cNvPr>
          <p:cNvSpPr>
            <a:spLocks noGrp="1"/>
          </p:cNvSpPr>
          <p:nvPr>
            <p:ph type="body" sz="quarter" idx="19" hasCustomPrompt="1"/>
          </p:nvPr>
        </p:nvSpPr>
        <p:spPr>
          <a:xfrm>
            <a:off x="3805629" y="7043792"/>
            <a:ext cx="5984783" cy="349195"/>
          </a:xfrm>
        </p:spPr>
        <p:txBody>
          <a:bodyPr anchor="ctr" anchorCtr="0"/>
          <a:lstStyle>
            <a:lvl1pPr algn="l" rtl="0">
              <a:spcBef>
                <a:spcPts val="1231"/>
              </a:spcBef>
              <a:defRPr sz="82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95331"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06080"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516828"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627577"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AU" noProof="0"/>
              <a:t>Source</a:t>
            </a:r>
          </a:p>
        </p:txBody>
      </p:sp>
      <p:sp>
        <p:nvSpPr>
          <p:cNvPr id="5" name="TextBox 4">
            <a:extLst>
              <a:ext uri="{FF2B5EF4-FFF2-40B4-BE49-F238E27FC236}">
                <a16:creationId xmlns:a16="http://schemas.microsoft.com/office/drawing/2014/main" id="{FDF99604-29BE-8EFE-E4F2-0958716E9777}"/>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996FD70C-4A60-30CC-C8B8-D520076DCE65}"/>
              </a:ext>
            </a:extLst>
          </p:cNvPr>
          <p:cNvSpPr>
            <a:spLocks noGrp="1"/>
          </p:cNvSpPr>
          <p:nvPr>
            <p:ph type="title" hasCustomPrompt="1"/>
          </p:nvPr>
        </p:nvSpPr>
        <p:spPr>
          <a:xfrm>
            <a:off x="3807866" y="436518"/>
            <a:ext cx="629463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9" name="Text Placeholder 5">
            <a:extLst>
              <a:ext uri="{FF2B5EF4-FFF2-40B4-BE49-F238E27FC236}">
                <a16:creationId xmlns:a16="http://schemas.microsoft.com/office/drawing/2014/main" id="{0B2CA576-6BD3-79C6-FDFE-C540F622365E}"/>
              </a:ext>
            </a:extLst>
          </p:cNvPr>
          <p:cNvSpPr>
            <a:spLocks noGrp="1"/>
          </p:cNvSpPr>
          <p:nvPr>
            <p:ph type="body" sz="quarter" idx="20" hasCustomPrompt="1"/>
          </p:nvPr>
        </p:nvSpPr>
        <p:spPr>
          <a:xfrm>
            <a:off x="3807866" y="1150817"/>
            <a:ext cx="6294634" cy="476200"/>
          </a:xfrm>
        </p:spPr>
        <p:txBody>
          <a:bodyPr/>
          <a:lstStyle>
            <a:lvl1pPr rtl="0">
              <a:defRPr sz="1127">
                <a:solidFill>
                  <a:schemeClr val="bg2"/>
                </a:solidFill>
              </a:defRPr>
            </a:lvl1pPr>
          </a:lstStyle>
          <a:p>
            <a:pPr lvl="0"/>
            <a:r>
              <a:rPr lang="en-AU" noProof="0"/>
              <a:t>Intro text (2 lines max)</a:t>
            </a:r>
          </a:p>
        </p:txBody>
      </p:sp>
      <p:sp>
        <p:nvSpPr>
          <p:cNvPr id="11" name="Text Placeholder 4">
            <a:extLst>
              <a:ext uri="{FF2B5EF4-FFF2-40B4-BE49-F238E27FC236}">
                <a16:creationId xmlns:a16="http://schemas.microsoft.com/office/drawing/2014/main" id="{7ACF17C1-83AE-7493-CFA0-A4DEC3CEBF1F}"/>
              </a:ext>
            </a:extLst>
          </p:cNvPr>
          <p:cNvSpPr>
            <a:spLocks noGrp="1"/>
          </p:cNvSpPr>
          <p:nvPr>
            <p:ph type="body" sz="quarter" idx="33"/>
          </p:nvPr>
        </p:nvSpPr>
        <p:spPr>
          <a:xfrm>
            <a:off x="3805628" y="1666700"/>
            <a:ext cx="6303349"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376469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de Panel content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77BF1D5-C8A9-36D2-2A39-63BBF95F1B6C}"/>
              </a:ext>
            </a:extLst>
          </p:cNvPr>
          <p:cNvGraphicFramePr>
            <a:graphicFrameLocks noChangeAspect="1"/>
          </p:cNvGraphicFramePr>
          <p:nvPr userDrawn="1">
            <p:custDataLst>
              <p:tags r:id="rId1"/>
            </p:custDataLst>
            <p:extLst>
              <p:ext uri="{D42A27DB-BD31-4B8C-83A1-F6EECF244321}">
                <p14:modId xmlns:p14="http://schemas.microsoft.com/office/powerpoint/2010/main" val="677772004"/>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77BF1D5-C8A9-36D2-2A39-63BBF95F1B6C}"/>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0" name="Rectangle 9"/>
          <p:cNvSpPr/>
          <p:nvPr userDrawn="1"/>
        </p:nvSpPr>
        <p:spPr>
          <a:xfrm>
            <a:off x="1" y="120930"/>
            <a:ext cx="3325182" cy="7438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21" name="Picture 20"/>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3" name="Text Placeholder 5"/>
          <p:cNvSpPr>
            <a:spLocks noGrp="1"/>
          </p:cNvSpPr>
          <p:nvPr>
            <p:ph type="body" sz="quarter" idx="14" hasCustomPrompt="1"/>
          </p:nvPr>
        </p:nvSpPr>
        <p:spPr>
          <a:xfrm>
            <a:off x="582838" y="446068"/>
            <a:ext cx="2285897" cy="317502"/>
          </a:xfrm>
        </p:spPr>
        <p:txBody>
          <a:bodyPr anchor="b"/>
          <a:lstStyle>
            <a:lvl1pPr marL="0" marR="0" indent="0" algn="l" defTabSz="937623" rtl="0" eaLnBrk="1" fontAlgn="auto" latinLnBrk="0" hangingPunct="1">
              <a:lnSpc>
                <a:spcPct val="100000"/>
              </a:lnSpc>
              <a:spcBef>
                <a:spcPts val="1231"/>
              </a:spcBef>
              <a:spcAft>
                <a:spcPts val="0"/>
              </a:spcAft>
              <a:buClrTx/>
              <a:buSzTx/>
              <a:buFont typeface="Arial" pitchFamily="34" charset="0"/>
              <a:buNone/>
              <a:tabLst/>
              <a:defRPr sz="1333">
                <a:solidFill>
                  <a:schemeClr val="bg2"/>
                </a:solidFill>
                <a:latin typeface="Segoe UI Semibold" panose="020B0702040204020203" pitchFamily="34" charset="0"/>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marL="0" marR="0" lvl="0" indent="0" algn="l" defTabSz="937623" rtl="0" eaLnBrk="1" fontAlgn="auto" latinLnBrk="0" hangingPunct="1">
              <a:lnSpc>
                <a:spcPct val="100000"/>
              </a:lnSpc>
              <a:spcBef>
                <a:spcPts val="1231"/>
              </a:spcBef>
              <a:spcAft>
                <a:spcPts val="0"/>
              </a:spcAft>
              <a:buClrTx/>
              <a:buSzTx/>
              <a:buFont typeface="Arial" pitchFamily="34" charset="0"/>
              <a:buNone/>
              <a:tabLst/>
              <a:defRPr/>
            </a:pPr>
            <a:r>
              <a:rPr lang="en-AU" noProof="0"/>
              <a:t>Title</a:t>
            </a:r>
          </a:p>
        </p:txBody>
      </p:sp>
      <p:cxnSp>
        <p:nvCxnSpPr>
          <p:cNvPr id="15" name="Straight Connector 14"/>
          <p:cNvCxnSpPr/>
          <p:nvPr userDrawn="1"/>
        </p:nvCxnSpPr>
        <p:spPr>
          <a:xfrm>
            <a:off x="582836" y="842945"/>
            <a:ext cx="229274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7"/>
          <p:cNvSpPr>
            <a:spLocks noGrp="1"/>
          </p:cNvSpPr>
          <p:nvPr>
            <p:ph type="body" sz="quarter" idx="19" hasCustomPrompt="1"/>
          </p:nvPr>
        </p:nvSpPr>
        <p:spPr>
          <a:xfrm>
            <a:off x="3805629" y="7043792"/>
            <a:ext cx="5984783" cy="349195"/>
          </a:xfrm>
        </p:spPr>
        <p:txBody>
          <a:bodyPr anchor="ctr" anchorCtr="0"/>
          <a:lstStyle>
            <a:lvl1pPr algn="l" rtl="0">
              <a:spcBef>
                <a:spcPts val="1231"/>
              </a:spcBef>
              <a:defRPr sz="82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95331"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06080"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516828"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627577"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AU" noProof="0"/>
              <a:t>Source</a:t>
            </a:r>
          </a:p>
        </p:txBody>
      </p:sp>
      <p:sp>
        <p:nvSpPr>
          <p:cNvPr id="4" name="TextBox 3">
            <a:extLst>
              <a:ext uri="{FF2B5EF4-FFF2-40B4-BE49-F238E27FC236}">
                <a16:creationId xmlns:a16="http://schemas.microsoft.com/office/drawing/2014/main" id="{B1ED47E3-8F65-6F3B-D579-224834620702}"/>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3DBDCFF1-7323-0558-E06A-5BDB7418E3D9}"/>
              </a:ext>
            </a:extLst>
          </p:cNvPr>
          <p:cNvSpPr>
            <a:spLocks noGrp="1"/>
          </p:cNvSpPr>
          <p:nvPr>
            <p:ph type="title" hasCustomPrompt="1"/>
          </p:nvPr>
        </p:nvSpPr>
        <p:spPr>
          <a:xfrm>
            <a:off x="3807866" y="436518"/>
            <a:ext cx="629463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7" name="Text Placeholder 5">
            <a:extLst>
              <a:ext uri="{FF2B5EF4-FFF2-40B4-BE49-F238E27FC236}">
                <a16:creationId xmlns:a16="http://schemas.microsoft.com/office/drawing/2014/main" id="{7787B869-461F-BF93-A047-A1B43ACBAE0C}"/>
              </a:ext>
            </a:extLst>
          </p:cNvPr>
          <p:cNvSpPr>
            <a:spLocks noGrp="1"/>
          </p:cNvSpPr>
          <p:nvPr>
            <p:ph type="body" sz="quarter" idx="20" hasCustomPrompt="1"/>
          </p:nvPr>
        </p:nvSpPr>
        <p:spPr>
          <a:xfrm>
            <a:off x="3807866" y="1150817"/>
            <a:ext cx="6294634"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72A2A401-2157-7399-40D9-FAF77C6D15F2}"/>
              </a:ext>
            </a:extLst>
          </p:cNvPr>
          <p:cNvSpPr>
            <a:spLocks noGrp="1"/>
          </p:cNvSpPr>
          <p:nvPr>
            <p:ph type="body" sz="quarter" idx="33"/>
          </p:nvPr>
        </p:nvSpPr>
        <p:spPr>
          <a:xfrm>
            <a:off x="3805628" y="1666700"/>
            <a:ext cx="6303349"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ext Placeholder 4">
            <a:extLst>
              <a:ext uri="{FF2B5EF4-FFF2-40B4-BE49-F238E27FC236}">
                <a16:creationId xmlns:a16="http://schemas.microsoft.com/office/drawing/2014/main" id="{473A1C0A-F8B0-C9A9-CF30-7D4DFF475971}"/>
              </a:ext>
            </a:extLst>
          </p:cNvPr>
          <p:cNvSpPr>
            <a:spLocks noGrp="1"/>
          </p:cNvSpPr>
          <p:nvPr>
            <p:ph type="body" sz="quarter" idx="34"/>
          </p:nvPr>
        </p:nvSpPr>
        <p:spPr>
          <a:xfrm>
            <a:off x="582836" y="1001697"/>
            <a:ext cx="2292746" cy="5765054"/>
          </a:xfrm>
        </p:spPr>
        <p:txBody>
          <a:bodyPr/>
          <a:lstStyle>
            <a:lvl1pPr rtl="0">
              <a:defRPr>
                <a:solidFill>
                  <a:schemeClr val="bg2"/>
                </a:solidFill>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375884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 Panel Content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A8F390-BAAA-D87B-FD14-ED13ACFB18ED}"/>
              </a:ext>
            </a:extLst>
          </p:cNvPr>
          <p:cNvGraphicFramePr>
            <a:graphicFrameLocks noChangeAspect="1"/>
          </p:cNvGraphicFramePr>
          <p:nvPr userDrawn="1">
            <p:custDataLst>
              <p:tags r:id="rId1"/>
            </p:custDataLst>
            <p:extLst>
              <p:ext uri="{D42A27DB-BD31-4B8C-83A1-F6EECF244321}">
                <p14:modId xmlns:p14="http://schemas.microsoft.com/office/powerpoint/2010/main" val="3139906007"/>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EA8F390-BAAA-D87B-FD14-ED13ACFB18ED}"/>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0" name="Rectangle 9"/>
          <p:cNvSpPr/>
          <p:nvPr userDrawn="1"/>
        </p:nvSpPr>
        <p:spPr>
          <a:xfrm>
            <a:off x="7365917" y="120930"/>
            <a:ext cx="3325182" cy="743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pic>
        <p:nvPicPr>
          <p:cNvPr id="21" name="Picture 20"/>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3" name="Text Placeholder 5"/>
          <p:cNvSpPr>
            <a:spLocks noGrp="1"/>
          </p:cNvSpPr>
          <p:nvPr>
            <p:ph type="body" sz="quarter" idx="14" hasCustomPrompt="1"/>
          </p:nvPr>
        </p:nvSpPr>
        <p:spPr>
          <a:xfrm>
            <a:off x="7844138" y="446068"/>
            <a:ext cx="2285897" cy="317502"/>
          </a:xfrm>
        </p:spPr>
        <p:txBody>
          <a:bodyPr anchor="b"/>
          <a:lstStyle>
            <a:lvl1pPr marL="0" marR="0" indent="0" algn="l" defTabSz="937623" rtl="0" eaLnBrk="1" fontAlgn="auto" latinLnBrk="0" hangingPunct="1">
              <a:lnSpc>
                <a:spcPct val="100000"/>
              </a:lnSpc>
              <a:spcBef>
                <a:spcPts val="1231"/>
              </a:spcBef>
              <a:spcAft>
                <a:spcPts val="0"/>
              </a:spcAft>
              <a:buClrTx/>
              <a:buSzTx/>
              <a:buFont typeface="Arial" pitchFamily="34" charset="0"/>
              <a:buNone/>
              <a:tabLst/>
              <a:defRPr sz="1333">
                <a:solidFill>
                  <a:schemeClr val="bg1"/>
                </a:solidFill>
                <a:latin typeface="Segoe UI Semibold" panose="020B0702040204020203" pitchFamily="34" charset="0"/>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marL="0" marR="0" lvl="0" indent="0" algn="l" defTabSz="937623" rtl="0" eaLnBrk="1" fontAlgn="auto" latinLnBrk="0" hangingPunct="1">
              <a:lnSpc>
                <a:spcPct val="100000"/>
              </a:lnSpc>
              <a:spcBef>
                <a:spcPts val="1231"/>
              </a:spcBef>
              <a:spcAft>
                <a:spcPts val="0"/>
              </a:spcAft>
              <a:buClrTx/>
              <a:buSzTx/>
              <a:buFont typeface="Arial" pitchFamily="34" charset="0"/>
              <a:buNone/>
              <a:tabLst/>
              <a:defRPr/>
            </a:pPr>
            <a:r>
              <a:rPr lang="en-AU" noProof="0"/>
              <a:t>Title</a:t>
            </a:r>
          </a:p>
        </p:txBody>
      </p:sp>
      <p:cxnSp>
        <p:nvCxnSpPr>
          <p:cNvPr id="15" name="Straight Connector 14"/>
          <p:cNvCxnSpPr/>
          <p:nvPr userDrawn="1"/>
        </p:nvCxnSpPr>
        <p:spPr>
          <a:xfrm>
            <a:off x="7837290" y="842945"/>
            <a:ext cx="229274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50C97507-649B-35CF-ADA5-5B8DB50F49FC}"/>
              </a:ext>
            </a:extLst>
          </p:cNvPr>
          <p:cNvSpPr>
            <a:spLocks noGrp="1"/>
          </p:cNvSpPr>
          <p:nvPr>
            <p:ph type="body" sz="quarter" idx="19" hasCustomPrompt="1"/>
          </p:nvPr>
        </p:nvSpPr>
        <p:spPr>
          <a:xfrm>
            <a:off x="582837" y="7043792"/>
            <a:ext cx="6294634" cy="349195"/>
          </a:xfrm>
        </p:spPr>
        <p:txBody>
          <a:bodyPr anchor="ctr" anchorCtr="0"/>
          <a:lstStyle>
            <a:lvl1pPr algn="l" rtl="0">
              <a:spcBef>
                <a:spcPts val="1231"/>
              </a:spcBef>
              <a:defRPr sz="82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95331"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06080"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516828"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627577"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AU" noProof="0"/>
              <a:t>Source</a:t>
            </a:r>
          </a:p>
        </p:txBody>
      </p:sp>
      <p:sp>
        <p:nvSpPr>
          <p:cNvPr id="6" name="TextBox 5">
            <a:extLst>
              <a:ext uri="{FF2B5EF4-FFF2-40B4-BE49-F238E27FC236}">
                <a16:creationId xmlns:a16="http://schemas.microsoft.com/office/drawing/2014/main" id="{82DB8B08-6F23-0FC4-184F-E8F72B0B428D}"/>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Title 1">
            <a:extLst>
              <a:ext uri="{FF2B5EF4-FFF2-40B4-BE49-F238E27FC236}">
                <a16:creationId xmlns:a16="http://schemas.microsoft.com/office/drawing/2014/main" id="{E6294AAE-A88C-8FF4-6FEF-A408428218D9}"/>
              </a:ext>
            </a:extLst>
          </p:cNvPr>
          <p:cNvSpPr>
            <a:spLocks noGrp="1"/>
          </p:cNvSpPr>
          <p:nvPr>
            <p:ph type="title" hasCustomPrompt="1"/>
          </p:nvPr>
        </p:nvSpPr>
        <p:spPr>
          <a:xfrm>
            <a:off x="582837" y="436518"/>
            <a:ext cx="629463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9" name="Text Placeholder 5">
            <a:extLst>
              <a:ext uri="{FF2B5EF4-FFF2-40B4-BE49-F238E27FC236}">
                <a16:creationId xmlns:a16="http://schemas.microsoft.com/office/drawing/2014/main" id="{434E41DD-FD0F-25F7-3A5D-1194E040A07A}"/>
              </a:ext>
            </a:extLst>
          </p:cNvPr>
          <p:cNvSpPr>
            <a:spLocks noGrp="1"/>
          </p:cNvSpPr>
          <p:nvPr>
            <p:ph type="body" sz="quarter" idx="21" hasCustomPrompt="1"/>
          </p:nvPr>
        </p:nvSpPr>
        <p:spPr>
          <a:xfrm>
            <a:off x="582837" y="1150817"/>
            <a:ext cx="6294634" cy="476200"/>
          </a:xfrm>
        </p:spPr>
        <p:txBody>
          <a:bodyPr/>
          <a:lstStyle>
            <a:lvl1pPr rtl="0">
              <a:defRPr sz="1127">
                <a:solidFill>
                  <a:schemeClr val="bg2"/>
                </a:solidFill>
              </a:defRPr>
            </a:lvl1pPr>
          </a:lstStyle>
          <a:p>
            <a:pPr lvl="0"/>
            <a:r>
              <a:rPr lang="en-AU" noProof="0"/>
              <a:t>Intro text (2 lines max)</a:t>
            </a:r>
          </a:p>
        </p:txBody>
      </p:sp>
      <p:sp>
        <p:nvSpPr>
          <p:cNvPr id="18" name="Text Placeholder 4">
            <a:extLst>
              <a:ext uri="{FF2B5EF4-FFF2-40B4-BE49-F238E27FC236}">
                <a16:creationId xmlns:a16="http://schemas.microsoft.com/office/drawing/2014/main" id="{24F275C2-15A3-F432-6EF5-DF62D0D199F4}"/>
              </a:ext>
            </a:extLst>
          </p:cNvPr>
          <p:cNvSpPr>
            <a:spLocks noGrp="1"/>
          </p:cNvSpPr>
          <p:nvPr>
            <p:ph type="body" sz="quarter" idx="33"/>
          </p:nvPr>
        </p:nvSpPr>
        <p:spPr>
          <a:xfrm>
            <a:off x="582568" y="1666700"/>
            <a:ext cx="6294634"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4">
            <a:extLst>
              <a:ext uri="{FF2B5EF4-FFF2-40B4-BE49-F238E27FC236}">
                <a16:creationId xmlns:a16="http://schemas.microsoft.com/office/drawing/2014/main" id="{A762C0F0-2B82-9D46-A62B-0A8BD7833B31}"/>
              </a:ext>
            </a:extLst>
          </p:cNvPr>
          <p:cNvSpPr>
            <a:spLocks noGrp="1"/>
          </p:cNvSpPr>
          <p:nvPr>
            <p:ph type="body" sz="quarter" idx="34"/>
          </p:nvPr>
        </p:nvSpPr>
        <p:spPr>
          <a:xfrm>
            <a:off x="7837288" y="1001697"/>
            <a:ext cx="2292746" cy="5765054"/>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1416525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de Panel Content Right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BF78E03-9C40-BF8C-3BE9-AA4329379D84}"/>
              </a:ext>
            </a:extLst>
          </p:cNvPr>
          <p:cNvGraphicFramePr>
            <a:graphicFrameLocks noChangeAspect="1"/>
          </p:cNvGraphicFramePr>
          <p:nvPr userDrawn="1">
            <p:custDataLst>
              <p:tags r:id="rId1"/>
            </p:custDataLst>
            <p:extLst>
              <p:ext uri="{D42A27DB-BD31-4B8C-83A1-F6EECF244321}">
                <p14:modId xmlns:p14="http://schemas.microsoft.com/office/powerpoint/2010/main" val="353159930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DBF78E03-9C40-BF8C-3BE9-AA4329379D84}"/>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21" name="Picture 20"/>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0" name="Rectangle 9"/>
          <p:cNvSpPr/>
          <p:nvPr userDrawn="1"/>
        </p:nvSpPr>
        <p:spPr>
          <a:xfrm>
            <a:off x="7365917" y="120930"/>
            <a:ext cx="3325182" cy="7438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sp>
        <p:nvSpPr>
          <p:cNvPr id="11" name="Text Placeholder 5"/>
          <p:cNvSpPr>
            <a:spLocks noGrp="1"/>
          </p:cNvSpPr>
          <p:nvPr>
            <p:ph type="body" sz="quarter" idx="14" hasCustomPrompt="1"/>
          </p:nvPr>
        </p:nvSpPr>
        <p:spPr>
          <a:xfrm>
            <a:off x="7844138" y="446068"/>
            <a:ext cx="2285897" cy="317502"/>
          </a:xfrm>
        </p:spPr>
        <p:txBody>
          <a:bodyPr anchor="b"/>
          <a:lstStyle>
            <a:lvl1pPr marL="0" marR="0" indent="0" algn="l" defTabSz="937623" rtl="0" eaLnBrk="1" fontAlgn="auto" latinLnBrk="0" hangingPunct="1">
              <a:lnSpc>
                <a:spcPct val="100000"/>
              </a:lnSpc>
              <a:spcBef>
                <a:spcPts val="1231"/>
              </a:spcBef>
              <a:spcAft>
                <a:spcPts val="0"/>
              </a:spcAft>
              <a:buClrTx/>
              <a:buSzTx/>
              <a:buFont typeface="Arial" pitchFamily="34" charset="0"/>
              <a:buNone/>
              <a:tabLst/>
              <a:defRPr sz="1333">
                <a:solidFill>
                  <a:schemeClr val="bg2"/>
                </a:solidFill>
                <a:latin typeface="Segoe UI Semibold" panose="020B0702040204020203" pitchFamily="34" charset="0"/>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marL="0" marR="0" lvl="0" indent="0" algn="l" defTabSz="937623" rtl="0" eaLnBrk="1" fontAlgn="auto" latinLnBrk="0" hangingPunct="1">
              <a:lnSpc>
                <a:spcPct val="100000"/>
              </a:lnSpc>
              <a:spcBef>
                <a:spcPts val="1231"/>
              </a:spcBef>
              <a:spcAft>
                <a:spcPts val="0"/>
              </a:spcAft>
              <a:buClrTx/>
              <a:buSzTx/>
              <a:buFont typeface="Arial" pitchFamily="34" charset="0"/>
              <a:buNone/>
              <a:tabLst/>
              <a:defRPr/>
            </a:pPr>
            <a:r>
              <a:rPr lang="en-AU" noProof="0"/>
              <a:t>Title</a:t>
            </a:r>
          </a:p>
        </p:txBody>
      </p:sp>
      <p:cxnSp>
        <p:nvCxnSpPr>
          <p:cNvPr id="12" name="Straight Connector 11"/>
          <p:cNvCxnSpPr/>
          <p:nvPr userDrawn="1"/>
        </p:nvCxnSpPr>
        <p:spPr>
          <a:xfrm>
            <a:off x="7837290" y="842945"/>
            <a:ext cx="229274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7"/>
          <p:cNvSpPr>
            <a:spLocks noGrp="1"/>
          </p:cNvSpPr>
          <p:nvPr>
            <p:ph type="body" sz="quarter" idx="19" hasCustomPrompt="1"/>
          </p:nvPr>
        </p:nvSpPr>
        <p:spPr>
          <a:xfrm>
            <a:off x="582837" y="7043792"/>
            <a:ext cx="6294634" cy="349195"/>
          </a:xfrm>
        </p:spPr>
        <p:txBody>
          <a:bodyPr anchor="ctr" anchorCtr="0"/>
          <a:lstStyle>
            <a:lvl1pPr algn="l" rtl="0">
              <a:spcBef>
                <a:spcPts val="1231"/>
              </a:spcBef>
              <a:defRPr sz="82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95331"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06080"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516828"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627577"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AU" noProof="0"/>
              <a:t>Source</a:t>
            </a:r>
          </a:p>
        </p:txBody>
      </p:sp>
      <p:sp>
        <p:nvSpPr>
          <p:cNvPr id="3" name="Title 1">
            <a:extLst>
              <a:ext uri="{FF2B5EF4-FFF2-40B4-BE49-F238E27FC236}">
                <a16:creationId xmlns:a16="http://schemas.microsoft.com/office/drawing/2014/main" id="{75BFDC83-1C22-A4FE-C09A-26DF3560BCE5}"/>
              </a:ext>
            </a:extLst>
          </p:cNvPr>
          <p:cNvSpPr>
            <a:spLocks noGrp="1"/>
          </p:cNvSpPr>
          <p:nvPr>
            <p:ph type="title" hasCustomPrompt="1"/>
          </p:nvPr>
        </p:nvSpPr>
        <p:spPr>
          <a:xfrm>
            <a:off x="582837" y="436518"/>
            <a:ext cx="629463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a:t>
            </a:r>
          </a:p>
        </p:txBody>
      </p:sp>
      <p:sp>
        <p:nvSpPr>
          <p:cNvPr id="4" name="TextBox 3">
            <a:extLst>
              <a:ext uri="{FF2B5EF4-FFF2-40B4-BE49-F238E27FC236}">
                <a16:creationId xmlns:a16="http://schemas.microsoft.com/office/drawing/2014/main" id="{364B774D-35A3-2300-DAEB-6BAD126AAF3F}"/>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ext Placeholder 4">
            <a:extLst>
              <a:ext uri="{FF2B5EF4-FFF2-40B4-BE49-F238E27FC236}">
                <a16:creationId xmlns:a16="http://schemas.microsoft.com/office/drawing/2014/main" id="{54E55AB9-AF41-5143-350F-7F01E9A304E3}"/>
              </a:ext>
            </a:extLst>
          </p:cNvPr>
          <p:cNvSpPr>
            <a:spLocks noGrp="1"/>
          </p:cNvSpPr>
          <p:nvPr>
            <p:ph type="body" sz="quarter" idx="33"/>
          </p:nvPr>
        </p:nvSpPr>
        <p:spPr>
          <a:xfrm>
            <a:off x="582568" y="1001697"/>
            <a:ext cx="6294634" cy="5765054"/>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Text Placeholder 4">
            <a:extLst>
              <a:ext uri="{FF2B5EF4-FFF2-40B4-BE49-F238E27FC236}">
                <a16:creationId xmlns:a16="http://schemas.microsoft.com/office/drawing/2014/main" id="{6970435A-FC5E-EC5B-7719-769E96EC00B6}"/>
              </a:ext>
            </a:extLst>
          </p:cNvPr>
          <p:cNvSpPr>
            <a:spLocks noGrp="1"/>
          </p:cNvSpPr>
          <p:nvPr>
            <p:ph type="body" sz="quarter" idx="34"/>
          </p:nvPr>
        </p:nvSpPr>
        <p:spPr>
          <a:xfrm>
            <a:off x="7837288" y="1001697"/>
            <a:ext cx="2292746" cy="5765054"/>
          </a:xfrm>
        </p:spPr>
        <p:txBody>
          <a:bodyPr/>
          <a:lstStyle>
            <a:lvl1pPr rtl="0">
              <a:defRPr>
                <a:solidFill>
                  <a:schemeClr val="bg2"/>
                </a:solidFill>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8459090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anel with content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40CF64-4B95-8615-F7E2-812A0298AC89}"/>
              </a:ext>
            </a:extLst>
          </p:cNvPr>
          <p:cNvGraphicFramePr>
            <a:graphicFrameLocks noChangeAspect="1"/>
          </p:cNvGraphicFramePr>
          <p:nvPr userDrawn="1">
            <p:custDataLst>
              <p:tags r:id="rId1"/>
            </p:custDataLst>
            <p:extLst>
              <p:ext uri="{D42A27DB-BD31-4B8C-83A1-F6EECF244321}">
                <p14:modId xmlns:p14="http://schemas.microsoft.com/office/powerpoint/2010/main" val="742220526"/>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A140CF64-4B95-8615-F7E2-812A0298AC89}"/>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ABF797C-97B2-74BD-237F-D3C03FDA8B5F}"/>
              </a:ext>
            </a:extLst>
          </p:cNvPr>
          <p:cNvSpPr/>
          <p:nvPr userDrawn="1"/>
        </p:nvSpPr>
        <p:spPr>
          <a:xfrm>
            <a:off x="7693442" y="119048"/>
            <a:ext cx="2998371" cy="7440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127">
              <a:solidFill>
                <a:schemeClr val="bg2"/>
              </a:solidFill>
            </a:endParaRPr>
          </a:p>
        </p:txBody>
      </p:sp>
      <p:pic>
        <p:nvPicPr>
          <p:cNvPr id="17" name="Picture 16"/>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4" name="Text Placeholder 32"/>
          <p:cNvSpPr>
            <a:spLocks noGrp="1"/>
          </p:cNvSpPr>
          <p:nvPr>
            <p:ph type="body" sz="quarter" idx="19" hasCustomPrompt="1"/>
          </p:nvPr>
        </p:nvSpPr>
        <p:spPr>
          <a:xfrm>
            <a:off x="8211294" y="1071451"/>
            <a:ext cx="1942788" cy="1716241"/>
          </a:xfrm>
          <a:solidFill>
            <a:schemeClr val="bg1">
              <a:lumMod val="95000"/>
            </a:schemeClr>
          </a:solidFill>
        </p:spPr>
        <p:txBody>
          <a:bodyPr anchor="ctr" anchorCtr="0"/>
          <a:lstStyle>
            <a:lvl1pPr algn="ctr" rtl="0">
              <a:defRPr>
                <a:solidFill>
                  <a:schemeClr val="bg2"/>
                </a:solidFill>
                <a:latin typeface="Segoe UI Light" panose="020B0502040204020203" pitchFamily="34" charset="0"/>
              </a:defRPr>
            </a:lvl1pPr>
          </a:lstStyle>
          <a:p>
            <a:pPr lvl="0"/>
            <a:r>
              <a:rPr lang="en-AU" noProof="0"/>
              <a:t>Content</a:t>
            </a:r>
          </a:p>
        </p:txBody>
      </p:sp>
      <p:sp>
        <p:nvSpPr>
          <p:cNvPr id="28" name="Text Placeholder 32"/>
          <p:cNvSpPr>
            <a:spLocks noGrp="1"/>
          </p:cNvSpPr>
          <p:nvPr>
            <p:ph type="body" sz="quarter" idx="20" hasCustomPrompt="1"/>
          </p:nvPr>
        </p:nvSpPr>
        <p:spPr>
          <a:xfrm>
            <a:off x="8211294" y="3090373"/>
            <a:ext cx="1942788" cy="1716241"/>
          </a:xfrm>
          <a:solidFill>
            <a:schemeClr val="bg1">
              <a:lumMod val="95000"/>
            </a:schemeClr>
          </a:solidFill>
        </p:spPr>
        <p:txBody>
          <a:bodyPr anchor="ctr" anchorCtr="0"/>
          <a:lstStyle>
            <a:lvl1pPr algn="ctr" rtl="0">
              <a:defRPr>
                <a:solidFill>
                  <a:schemeClr val="bg2"/>
                </a:solidFill>
                <a:latin typeface="Segoe UI Light" panose="020B0502040204020203" pitchFamily="34" charset="0"/>
              </a:defRPr>
            </a:lvl1pPr>
          </a:lstStyle>
          <a:p>
            <a:pPr lvl="0"/>
            <a:r>
              <a:rPr lang="en-AU" noProof="0"/>
              <a:t>Content</a:t>
            </a:r>
          </a:p>
        </p:txBody>
      </p:sp>
      <p:sp>
        <p:nvSpPr>
          <p:cNvPr id="29" name="Text Placeholder 32"/>
          <p:cNvSpPr>
            <a:spLocks noGrp="1"/>
          </p:cNvSpPr>
          <p:nvPr>
            <p:ph type="body" sz="quarter" idx="21" hasCustomPrompt="1"/>
          </p:nvPr>
        </p:nvSpPr>
        <p:spPr>
          <a:xfrm>
            <a:off x="8211294" y="5109294"/>
            <a:ext cx="1942788" cy="1716241"/>
          </a:xfrm>
          <a:solidFill>
            <a:schemeClr val="bg1">
              <a:lumMod val="95000"/>
            </a:schemeClr>
          </a:solidFill>
        </p:spPr>
        <p:txBody>
          <a:bodyPr anchor="ctr" anchorCtr="0"/>
          <a:lstStyle>
            <a:lvl1pPr algn="ctr" rtl="0">
              <a:defRPr>
                <a:solidFill>
                  <a:schemeClr val="bg2"/>
                </a:solidFill>
                <a:latin typeface="Segoe UI Light" panose="020B0502040204020203" pitchFamily="34" charset="0"/>
              </a:defRPr>
            </a:lvl1pPr>
          </a:lstStyle>
          <a:p>
            <a:pPr lvl="0"/>
            <a:r>
              <a:rPr lang="en-AU" noProof="0"/>
              <a:t>Content</a:t>
            </a:r>
          </a:p>
        </p:txBody>
      </p:sp>
      <p:sp>
        <p:nvSpPr>
          <p:cNvPr id="4" name="TextBox 3">
            <a:extLst>
              <a:ext uri="{FF2B5EF4-FFF2-40B4-BE49-F238E27FC236}">
                <a16:creationId xmlns:a16="http://schemas.microsoft.com/office/drawing/2014/main" id="{CC1E0236-3265-A9B4-8989-695EE046AC1B}"/>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7">
            <a:extLst>
              <a:ext uri="{FF2B5EF4-FFF2-40B4-BE49-F238E27FC236}">
                <a16:creationId xmlns:a16="http://schemas.microsoft.com/office/drawing/2014/main" id="{EEE04414-6FC6-C579-2B81-EE84985D11CC}"/>
              </a:ext>
            </a:extLst>
          </p:cNvPr>
          <p:cNvSpPr>
            <a:spLocks noGrp="1"/>
          </p:cNvSpPr>
          <p:nvPr>
            <p:ph type="body" sz="quarter" idx="22" hasCustomPrompt="1"/>
          </p:nvPr>
        </p:nvSpPr>
        <p:spPr>
          <a:xfrm>
            <a:off x="582836" y="7043792"/>
            <a:ext cx="6605481" cy="349195"/>
          </a:xfrm>
        </p:spPr>
        <p:txBody>
          <a:bodyPr anchor="ctr" anchorCtr="0"/>
          <a:lstStyle>
            <a:lvl1pPr algn="l" rtl="0">
              <a:spcBef>
                <a:spcPts val="1231"/>
              </a:spcBef>
              <a:defRPr sz="82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95331"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06080"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516828"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627577" indent="-110749" algn="r">
              <a:buClr>
                <a:schemeClr val="bg1"/>
              </a:buClr>
              <a:defRPr sz="1025">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AU" noProof="0"/>
              <a:t>Source</a:t>
            </a:r>
          </a:p>
        </p:txBody>
      </p:sp>
      <p:sp>
        <p:nvSpPr>
          <p:cNvPr id="9" name="Title 1">
            <a:extLst>
              <a:ext uri="{FF2B5EF4-FFF2-40B4-BE49-F238E27FC236}">
                <a16:creationId xmlns:a16="http://schemas.microsoft.com/office/drawing/2014/main" id="{45B809F8-3439-AC57-1284-A10252BCFFFB}"/>
              </a:ext>
            </a:extLst>
          </p:cNvPr>
          <p:cNvSpPr>
            <a:spLocks noGrp="1"/>
          </p:cNvSpPr>
          <p:nvPr>
            <p:ph type="title" hasCustomPrompt="1"/>
          </p:nvPr>
        </p:nvSpPr>
        <p:spPr>
          <a:xfrm>
            <a:off x="582837" y="436518"/>
            <a:ext cx="6605481"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10" name="Text Placeholder 5">
            <a:extLst>
              <a:ext uri="{FF2B5EF4-FFF2-40B4-BE49-F238E27FC236}">
                <a16:creationId xmlns:a16="http://schemas.microsoft.com/office/drawing/2014/main" id="{84801EFB-440D-6CBD-EBF0-464EA821D202}"/>
              </a:ext>
            </a:extLst>
          </p:cNvPr>
          <p:cNvSpPr>
            <a:spLocks noGrp="1"/>
          </p:cNvSpPr>
          <p:nvPr>
            <p:ph type="body" sz="quarter" idx="23" hasCustomPrompt="1"/>
          </p:nvPr>
        </p:nvSpPr>
        <p:spPr>
          <a:xfrm>
            <a:off x="582837" y="1150817"/>
            <a:ext cx="6605481" cy="476200"/>
          </a:xfrm>
        </p:spPr>
        <p:txBody>
          <a:bodyPr/>
          <a:lstStyle>
            <a:lvl1pPr rtl="0">
              <a:defRPr sz="1127">
                <a:solidFill>
                  <a:schemeClr val="bg2"/>
                </a:solidFill>
              </a:defRPr>
            </a:lvl1pPr>
          </a:lstStyle>
          <a:p>
            <a:pPr lvl="0"/>
            <a:r>
              <a:rPr lang="en-AU" noProof="0"/>
              <a:t>Intro text (2 lines max)</a:t>
            </a:r>
          </a:p>
        </p:txBody>
      </p:sp>
      <p:sp>
        <p:nvSpPr>
          <p:cNvPr id="13" name="Text Placeholder 4">
            <a:extLst>
              <a:ext uri="{FF2B5EF4-FFF2-40B4-BE49-F238E27FC236}">
                <a16:creationId xmlns:a16="http://schemas.microsoft.com/office/drawing/2014/main" id="{4E49A8A6-BDC7-5B62-E920-589550BF381F}"/>
              </a:ext>
            </a:extLst>
          </p:cNvPr>
          <p:cNvSpPr>
            <a:spLocks noGrp="1"/>
          </p:cNvSpPr>
          <p:nvPr>
            <p:ph type="body" sz="quarter" idx="33"/>
          </p:nvPr>
        </p:nvSpPr>
        <p:spPr>
          <a:xfrm>
            <a:off x="582567" y="1666700"/>
            <a:ext cx="6605481" cy="515883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5094206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harts/insigh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609A3B-40A3-D0F3-FBB1-D6F271BD42EE}"/>
              </a:ext>
            </a:extLst>
          </p:cNvPr>
          <p:cNvGraphicFramePr>
            <a:graphicFrameLocks noChangeAspect="1"/>
          </p:cNvGraphicFramePr>
          <p:nvPr userDrawn="1">
            <p:custDataLst>
              <p:tags r:id="rId1"/>
            </p:custDataLst>
            <p:extLst>
              <p:ext uri="{D42A27DB-BD31-4B8C-83A1-F6EECF244321}">
                <p14:modId xmlns:p14="http://schemas.microsoft.com/office/powerpoint/2010/main" val="614852251"/>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D3609A3B-40A3-D0F3-FBB1-D6F271BD42EE}"/>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6" name="Content Placeholder 15">
            <a:extLst>
              <a:ext uri="{FF2B5EF4-FFF2-40B4-BE49-F238E27FC236}">
                <a16:creationId xmlns:a16="http://schemas.microsoft.com/office/drawing/2014/main" id="{9740F2B6-1243-96E1-F36F-1AF8257361F0}"/>
              </a:ext>
            </a:extLst>
          </p:cNvPr>
          <p:cNvSpPr>
            <a:spLocks noGrp="1"/>
          </p:cNvSpPr>
          <p:nvPr>
            <p:ph sz="quarter" idx="34"/>
          </p:nvPr>
        </p:nvSpPr>
        <p:spPr>
          <a:xfrm>
            <a:off x="582837" y="1785750"/>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itle 1">
            <a:extLst>
              <a:ext uri="{FF2B5EF4-FFF2-40B4-BE49-F238E27FC236}">
                <a16:creationId xmlns:a16="http://schemas.microsoft.com/office/drawing/2014/main" id="{9DB5CE80-2F38-ADE3-1157-F04E3FF6C6B8}"/>
              </a:ext>
            </a:extLst>
          </p:cNvPr>
          <p:cNvSpPr>
            <a:spLocks noGrp="1"/>
          </p:cNvSpPr>
          <p:nvPr>
            <p:ph type="title" hasCustomPrompt="1"/>
          </p:nvPr>
        </p:nvSpPr>
        <p:spPr>
          <a:xfrm>
            <a:off x="582836"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5" name="TextBox 4">
            <a:extLst>
              <a:ext uri="{FF2B5EF4-FFF2-40B4-BE49-F238E27FC236}">
                <a16:creationId xmlns:a16="http://schemas.microsoft.com/office/drawing/2014/main" id="{0C24E604-CC1C-C4B8-7C94-AF7DE4ACE6AC}"/>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03372231-88D5-DF80-36D2-F00A341A5F15}"/>
              </a:ext>
            </a:extLst>
          </p:cNvPr>
          <p:cNvSpPr>
            <a:spLocks noGrp="1"/>
          </p:cNvSpPr>
          <p:nvPr>
            <p:ph type="body" sz="quarter" idx="15"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17" name="Content Placeholder 15">
            <a:extLst>
              <a:ext uri="{FF2B5EF4-FFF2-40B4-BE49-F238E27FC236}">
                <a16:creationId xmlns:a16="http://schemas.microsoft.com/office/drawing/2014/main" id="{91FAD189-D152-2EC9-9A89-FC6259346675}"/>
              </a:ext>
            </a:extLst>
          </p:cNvPr>
          <p:cNvSpPr>
            <a:spLocks noGrp="1"/>
          </p:cNvSpPr>
          <p:nvPr>
            <p:ph sz="quarter" idx="35"/>
          </p:nvPr>
        </p:nvSpPr>
        <p:spPr>
          <a:xfrm>
            <a:off x="582837" y="4444533"/>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Content Placeholder 15">
            <a:extLst>
              <a:ext uri="{FF2B5EF4-FFF2-40B4-BE49-F238E27FC236}">
                <a16:creationId xmlns:a16="http://schemas.microsoft.com/office/drawing/2014/main" id="{7A6CF204-B111-F334-F2D0-839E3BAD6B3A}"/>
              </a:ext>
            </a:extLst>
          </p:cNvPr>
          <p:cNvSpPr>
            <a:spLocks noGrp="1"/>
          </p:cNvSpPr>
          <p:nvPr>
            <p:ph sz="quarter" idx="36"/>
          </p:nvPr>
        </p:nvSpPr>
        <p:spPr>
          <a:xfrm>
            <a:off x="5517520" y="4444533"/>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Content Placeholder 15">
            <a:extLst>
              <a:ext uri="{FF2B5EF4-FFF2-40B4-BE49-F238E27FC236}">
                <a16:creationId xmlns:a16="http://schemas.microsoft.com/office/drawing/2014/main" id="{B0BD3D77-E6B9-ABCB-C81D-D426F7D68EB0}"/>
              </a:ext>
            </a:extLst>
          </p:cNvPr>
          <p:cNvSpPr>
            <a:spLocks noGrp="1"/>
          </p:cNvSpPr>
          <p:nvPr>
            <p:ph sz="quarter" idx="37"/>
          </p:nvPr>
        </p:nvSpPr>
        <p:spPr>
          <a:xfrm>
            <a:off x="5517520" y="1785750"/>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5258688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C183BB8-15C9-4DB0-87A8-B4E571D726F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 y="3932987"/>
            <a:ext cx="10691813" cy="2511579"/>
          </a:xfrm>
          <a:prstGeom prst="rect">
            <a:avLst/>
          </a:prstGeom>
        </p:spPr>
      </p:pic>
      <p:pic>
        <p:nvPicPr>
          <p:cNvPr id="8" name="Picture 2"/>
          <p:cNvPicPr>
            <a:picLocks noChangeAspect="1" noChangeArrowheads="1"/>
          </p:cNvPicPr>
          <p:nvPr userDrawn="1"/>
        </p:nvPicPr>
        <p:blipFill rotWithShape="1">
          <a:blip r:embed="rId4">
            <a:alphaModFix amt="70000"/>
            <a:extLst>
              <a:ext uri="{28A0092B-C50C-407E-A947-70E740481C1C}">
                <a14:useLocalDpi xmlns:a14="http://schemas.microsoft.com/office/drawing/2010/main" val="0"/>
              </a:ext>
            </a:extLst>
          </a:blip>
          <a:srcRect/>
          <a:stretch/>
        </p:blipFill>
        <p:spPr bwMode="auto">
          <a:xfrm>
            <a:off x="5889948" y="3932986"/>
            <a:ext cx="4801866" cy="2511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44875436"/>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15" y="1751"/>
                        <a:ext cx="1713" cy="1749"/>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82838" y="4573730"/>
            <a:ext cx="7367414" cy="1191371"/>
          </a:xfrm>
        </p:spPr>
        <p:txBody>
          <a:bodyPr anchor="ctr" anchorCtr="0"/>
          <a:lstStyle>
            <a:lvl1pPr rtl="0">
              <a:defRPr sz="2872">
                <a:solidFill>
                  <a:schemeClr val="bg1"/>
                </a:solidFill>
                <a:latin typeface="Segoe UI Semibold" panose="020B0702040204020203" pitchFamily="34" charset="0"/>
              </a:defRPr>
            </a:lvl1pPr>
            <a:lvl5pPr>
              <a:defRPr/>
            </a:lvl5pPr>
          </a:lstStyle>
          <a:p>
            <a:pPr lvl="0"/>
            <a:r>
              <a:rPr lang="en-AU" noProof="0"/>
              <a:t>Section title</a:t>
            </a:r>
          </a:p>
        </p:txBody>
      </p:sp>
      <p:pic>
        <p:nvPicPr>
          <p:cNvPr id="10" name="Picture 9" descr="A picture containing drawing&#10;&#10;Description automatically generated">
            <a:extLst>
              <a:ext uri="{FF2B5EF4-FFF2-40B4-BE49-F238E27FC236}">
                <a16:creationId xmlns:a16="http://schemas.microsoft.com/office/drawing/2014/main" id="{F0489785-0F99-45B1-86C8-C13709AFED6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64296" y="7032562"/>
            <a:ext cx="717097" cy="209737"/>
          </a:xfrm>
          <a:prstGeom prst="rect">
            <a:avLst/>
          </a:prstGeom>
        </p:spPr>
      </p:pic>
      <p:pic>
        <p:nvPicPr>
          <p:cNvPr id="7" name="Picture 6">
            <a:extLst>
              <a:ext uri="{FF2B5EF4-FFF2-40B4-BE49-F238E27FC236}">
                <a16:creationId xmlns:a16="http://schemas.microsoft.com/office/drawing/2014/main" id="{7336A8A2-5874-F226-ED1E-C8D0C42E3D42}"/>
              </a:ext>
            </a:extLst>
          </p:cNvPr>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Tree>
    <p:extLst>
      <p:ext uri="{BB962C8B-B14F-4D97-AF65-F5344CB8AC3E}">
        <p14:creationId xmlns:p14="http://schemas.microsoft.com/office/powerpoint/2010/main" val="19530110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charts/insights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C71A02-388B-AF14-CDC8-80DBF20871B8}"/>
              </a:ext>
            </a:extLst>
          </p:cNvPr>
          <p:cNvGraphicFramePr>
            <a:graphicFrameLocks noChangeAspect="1"/>
          </p:cNvGraphicFramePr>
          <p:nvPr userDrawn="1">
            <p:custDataLst>
              <p:tags r:id="rId1"/>
            </p:custDataLst>
            <p:extLst>
              <p:ext uri="{D42A27DB-BD31-4B8C-83A1-F6EECF244321}">
                <p14:modId xmlns:p14="http://schemas.microsoft.com/office/powerpoint/2010/main" val="100685372"/>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0DC71A02-388B-AF14-CDC8-80DBF20871B8}"/>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itle 1">
            <a:extLst>
              <a:ext uri="{FF2B5EF4-FFF2-40B4-BE49-F238E27FC236}">
                <a16:creationId xmlns:a16="http://schemas.microsoft.com/office/drawing/2014/main" id="{7ECFD518-7276-1FE5-2564-B0226C2A825B}"/>
              </a:ext>
            </a:extLst>
          </p:cNvPr>
          <p:cNvSpPr>
            <a:spLocks noGrp="1"/>
          </p:cNvSpPr>
          <p:nvPr>
            <p:ph type="title" hasCustomPrompt="1"/>
          </p:nvPr>
        </p:nvSpPr>
        <p:spPr>
          <a:xfrm>
            <a:off x="582836"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5" name="TextBox 4">
            <a:extLst>
              <a:ext uri="{FF2B5EF4-FFF2-40B4-BE49-F238E27FC236}">
                <a16:creationId xmlns:a16="http://schemas.microsoft.com/office/drawing/2014/main" id="{B098065D-EA07-4EE2-7DFC-2046A3B25158}"/>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14611D6D-149C-CD4A-5DE1-B849316110F4}"/>
              </a:ext>
            </a:extLst>
          </p:cNvPr>
          <p:cNvSpPr>
            <a:spLocks noGrp="1"/>
          </p:cNvSpPr>
          <p:nvPr>
            <p:ph type="body" sz="quarter" idx="15"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9" name="Content Placeholder 15">
            <a:extLst>
              <a:ext uri="{FF2B5EF4-FFF2-40B4-BE49-F238E27FC236}">
                <a16:creationId xmlns:a16="http://schemas.microsoft.com/office/drawing/2014/main" id="{61FC46F1-FA1A-E0CE-0E3F-AD3A8678F574}"/>
              </a:ext>
            </a:extLst>
          </p:cNvPr>
          <p:cNvSpPr>
            <a:spLocks noGrp="1"/>
          </p:cNvSpPr>
          <p:nvPr>
            <p:ph sz="quarter" idx="34"/>
          </p:nvPr>
        </p:nvSpPr>
        <p:spPr>
          <a:xfrm>
            <a:off x="582837" y="1785750"/>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5">
            <a:extLst>
              <a:ext uri="{FF2B5EF4-FFF2-40B4-BE49-F238E27FC236}">
                <a16:creationId xmlns:a16="http://schemas.microsoft.com/office/drawing/2014/main" id="{000692D7-5FCE-EAC7-AFAF-3AB841589CBE}"/>
              </a:ext>
            </a:extLst>
          </p:cNvPr>
          <p:cNvSpPr>
            <a:spLocks noGrp="1"/>
          </p:cNvSpPr>
          <p:nvPr>
            <p:ph sz="quarter" idx="35"/>
          </p:nvPr>
        </p:nvSpPr>
        <p:spPr>
          <a:xfrm>
            <a:off x="582837" y="4444533"/>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Content Placeholder 15">
            <a:extLst>
              <a:ext uri="{FF2B5EF4-FFF2-40B4-BE49-F238E27FC236}">
                <a16:creationId xmlns:a16="http://schemas.microsoft.com/office/drawing/2014/main" id="{D413E1F2-B764-D843-1B7A-28DB498529F5}"/>
              </a:ext>
            </a:extLst>
          </p:cNvPr>
          <p:cNvSpPr>
            <a:spLocks noGrp="1"/>
          </p:cNvSpPr>
          <p:nvPr>
            <p:ph sz="quarter" idx="36"/>
          </p:nvPr>
        </p:nvSpPr>
        <p:spPr>
          <a:xfrm>
            <a:off x="5517520" y="4444533"/>
            <a:ext cx="4585624" cy="2381000"/>
          </a:xfrm>
          <a:solidFill>
            <a:schemeClr val="accent5"/>
          </a:solidFill>
        </p:spPr>
        <p:txBody>
          <a:bodyPr lIns="108000" tIns="108000" rIns="108000" bIns="10800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5">
            <a:extLst>
              <a:ext uri="{FF2B5EF4-FFF2-40B4-BE49-F238E27FC236}">
                <a16:creationId xmlns:a16="http://schemas.microsoft.com/office/drawing/2014/main" id="{75F53F8A-FE53-5689-A1CC-EC83261384EF}"/>
              </a:ext>
            </a:extLst>
          </p:cNvPr>
          <p:cNvSpPr>
            <a:spLocks noGrp="1"/>
          </p:cNvSpPr>
          <p:nvPr>
            <p:ph sz="quarter" idx="37"/>
          </p:nvPr>
        </p:nvSpPr>
        <p:spPr>
          <a:xfrm>
            <a:off x="5517520" y="1785750"/>
            <a:ext cx="4585624" cy="2381000"/>
          </a:xfrm>
          <a:solidFill>
            <a:schemeClr val="accent5"/>
          </a:solidFill>
        </p:spPr>
        <p:txBody>
          <a:bodyPr lIns="108000" tIns="108000" rIns="108000" bIns="10800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9321701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harts/insights 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F147CA-26E8-14D2-DFC0-90B89173377C}"/>
              </a:ext>
            </a:extLst>
          </p:cNvPr>
          <p:cNvGraphicFramePr>
            <a:graphicFrameLocks noChangeAspect="1"/>
          </p:cNvGraphicFramePr>
          <p:nvPr userDrawn="1">
            <p:custDataLst>
              <p:tags r:id="rId1"/>
            </p:custDataLst>
            <p:extLst>
              <p:ext uri="{D42A27DB-BD31-4B8C-83A1-F6EECF244321}">
                <p14:modId xmlns:p14="http://schemas.microsoft.com/office/powerpoint/2010/main" val="255472044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82F147CA-26E8-14D2-DFC0-90B89173377C}"/>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itle 1">
            <a:extLst>
              <a:ext uri="{FF2B5EF4-FFF2-40B4-BE49-F238E27FC236}">
                <a16:creationId xmlns:a16="http://schemas.microsoft.com/office/drawing/2014/main" id="{19D6041B-F968-B56D-9361-2EB01FD7A9A9}"/>
              </a:ext>
            </a:extLst>
          </p:cNvPr>
          <p:cNvSpPr>
            <a:spLocks noGrp="1"/>
          </p:cNvSpPr>
          <p:nvPr>
            <p:ph type="title" hasCustomPrompt="1"/>
          </p:nvPr>
        </p:nvSpPr>
        <p:spPr>
          <a:xfrm>
            <a:off x="582836"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9" name="TextBox 8">
            <a:extLst>
              <a:ext uri="{FF2B5EF4-FFF2-40B4-BE49-F238E27FC236}">
                <a16:creationId xmlns:a16="http://schemas.microsoft.com/office/drawing/2014/main" id="{1C3FF963-85B1-944F-5CEB-8508FF66D3F9}"/>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ext Placeholder 5">
            <a:extLst>
              <a:ext uri="{FF2B5EF4-FFF2-40B4-BE49-F238E27FC236}">
                <a16:creationId xmlns:a16="http://schemas.microsoft.com/office/drawing/2014/main" id="{2C606741-E2C7-F97E-7B8E-40690D1FA135}"/>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16" name="Content Placeholder 15">
            <a:extLst>
              <a:ext uri="{FF2B5EF4-FFF2-40B4-BE49-F238E27FC236}">
                <a16:creationId xmlns:a16="http://schemas.microsoft.com/office/drawing/2014/main" id="{578C0714-B07D-D793-7B1B-E7F7273B1B5A}"/>
              </a:ext>
            </a:extLst>
          </p:cNvPr>
          <p:cNvSpPr>
            <a:spLocks noGrp="1"/>
          </p:cNvSpPr>
          <p:nvPr>
            <p:ph sz="quarter" idx="34"/>
          </p:nvPr>
        </p:nvSpPr>
        <p:spPr>
          <a:xfrm>
            <a:off x="582837" y="1785750"/>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5">
            <a:extLst>
              <a:ext uri="{FF2B5EF4-FFF2-40B4-BE49-F238E27FC236}">
                <a16:creationId xmlns:a16="http://schemas.microsoft.com/office/drawing/2014/main" id="{830CCC50-6C64-FBAC-89D6-8183B6B2F1E1}"/>
              </a:ext>
            </a:extLst>
          </p:cNvPr>
          <p:cNvSpPr>
            <a:spLocks noGrp="1"/>
          </p:cNvSpPr>
          <p:nvPr>
            <p:ph sz="quarter" idx="35"/>
          </p:nvPr>
        </p:nvSpPr>
        <p:spPr>
          <a:xfrm>
            <a:off x="582837" y="4444533"/>
            <a:ext cx="4585624" cy="2381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Content Placeholder 15">
            <a:extLst>
              <a:ext uri="{FF2B5EF4-FFF2-40B4-BE49-F238E27FC236}">
                <a16:creationId xmlns:a16="http://schemas.microsoft.com/office/drawing/2014/main" id="{BE3737C7-937E-6A92-0905-155BBA3ABFA0}"/>
              </a:ext>
            </a:extLst>
          </p:cNvPr>
          <p:cNvSpPr>
            <a:spLocks noGrp="1"/>
          </p:cNvSpPr>
          <p:nvPr>
            <p:ph sz="quarter" idx="36"/>
          </p:nvPr>
        </p:nvSpPr>
        <p:spPr>
          <a:xfrm>
            <a:off x="5517520" y="4444533"/>
            <a:ext cx="4585624" cy="2381000"/>
          </a:xfrm>
          <a:solidFill>
            <a:schemeClr val="bg2"/>
          </a:solidFill>
        </p:spPr>
        <p:txBody>
          <a:bodyPr lIns="108000" tIns="108000" rIns="108000" bIns="108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Content Placeholder 15">
            <a:extLst>
              <a:ext uri="{FF2B5EF4-FFF2-40B4-BE49-F238E27FC236}">
                <a16:creationId xmlns:a16="http://schemas.microsoft.com/office/drawing/2014/main" id="{1A27D064-12D6-B415-96F3-C41933BA176D}"/>
              </a:ext>
            </a:extLst>
          </p:cNvPr>
          <p:cNvSpPr>
            <a:spLocks noGrp="1"/>
          </p:cNvSpPr>
          <p:nvPr>
            <p:ph sz="quarter" idx="37"/>
          </p:nvPr>
        </p:nvSpPr>
        <p:spPr>
          <a:xfrm>
            <a:off x="5517520" y="1785750"/>
            <a:ext cx="4585624" cy="2381000"/>
          </a:xfrm>
          <a:solidFill>
            <a:schemeClr val="bg2"/>
          </a:solidFill>
        </p:spPr>
        <p:txBody>
          <a:bodyPr lIns="108000" tIns="108000" rIns="108000" bIns="108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2355072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 3 row">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3C6F14-B190-DA43-E22F-2F711158C37A}"/>
              </a:ext>
            </a:extLst>
          </p:cNvPr>
          <p:cNvGraphicFramePr>
            <a:graphicFrameLocks noChangeAspect="1"/>
          </p:cNvGraphicFramePr>
          <p:nvPr userDrawn="1">
            <p:custDataLst>
              <p:tags r:id="rId1"/>
            </p:custDataLst>
            <p:extLst>
              <p:ext uri="{D42A27DB-BD31-4B8C-83A1-F6EECF244321}">
                <p14:modId xmlns:p14="http://schemas.microsoft.com/office/powerpoint/2010/main" val="183700715"/>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F13C6F14-B190-DA43-E22F-2F711158C37A}"/>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0311EB99-2C58-F691-4EEF-6C19227E9947}"/>
              </a:ext>
            </a:extLst>
          </p:cNvPr>
          <p:cNvSpPr>
            <a:spLocks noGrp="1"/>
          </p:cNvSpPr>
          <p:nvPr>
            <p:ph type="body" sz="quarter" idx="41"/>
          </p:nvPr>
        </p:nvSpPr>
        <p:spPr>
          <a:xfrm>
            <a:off x="582837" y="3571500"/>
            <a:ext cx="3030750" cy="1587333"/>
          </a:xfrm>
        </p:spPr>
        <p:txBody>
          <a:bodyPr/>
          <a:lstStyle>
            <a:lvl1pPr rtl="0">
              <a:defRPr/>
            </a:lvl1pPr>
            <a:lvl2pPr rtl="0">
              <a:defRPr/>
            </a:lvl2pPr>
          </a:lstStyle>
          <a:p>
            <a:pPr lvl="0"/>
            <a:r>
              <a:rPr lang="en-US"/>
              <a:t>Click to edit Master text styles</a:t>
            </a:r>
          </a:p>
          <a:p>
            <a:pPr lvl="1"/>
            <a:r>
              <a:rPr lang="en-US"/>
              <a:t>Second level</a:t>
            </a:r>
          </a:p>
        </p:txBody>
      </p:sp>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4" name="Title 1">
            <a:extLst>
              <a:ext uri="{FF2B5EF4-FFF2-40B4-BE49-F238E27FC236}">
                <a16:creationId xmlns:a16="http://schemas.microsoft.com/office/drawing/2014/main" id="{6319AA98-B4DB-312A-4F38-69537041BB76}"/>
              </a:ext>
            </a:extLst>
          </p:cNvPr>
          <p:cNvSpPr>
            <a:spLocks noGrp="1"/>
          </p:cNvSpPr>
          <p:nvPr>
            <p:ph type="title" hasCustomPrompt="1"/>
          </p:nvPr>
        </p:nvSpPr>
        <p:spPr>
          <a:xfrm>
            <a:off x="582836"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5" name="TextBox 4">
            <a:extLst>
              <a:ext uri="{FF2B5EF4-FFF2-40B4-BE49-F238E27FC236}">
                <a16:creationId xmlns:a16="http://schemas.microsoft.com/office/drawing/2014/main" id="{F7A455A5-EB25-560E-0042-55957667D044}"/>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ext Placeholder 5">
            <a:extLst>
              <a:ext uri="{FF2B5EF4-FFF2-40B4-BE49-F238E27FC236}">
                <a16:creationId xmlns:a16="http://schemas.microsoft.com/office/drawing/2014/main" id="{B3C9A8DD-FE7D-5584-CC3E-F4B215598A65}"/>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7" name="Text Placeholder 4">
            <a:extLst>
              <a:ext uri="{FF2B5EF4-FFF2-40B4-BE49-F238E27FC236}">
                <a16:creationId xmlns:a16="http://schemas.microsoft.com/office/drawing/2014/main" id="{9DC13C07-B4C2-AFA8-B601-DE4722B6673E}"/>
              </a:ext>
            </a:extLst>
          </p:cNvPr>
          <p:cNvSpPr>
            <a:spLocks noGrp="1"/>
          </p:cNvSpPr>
          <p:nvPr>
            <p:ph type="body" sz="quarter" idx="33"/>
          </p:nvPr>
        </p:nvSpPr>
        <p:spPr>
          <a:xfrm>
            <a:off x="582837" y="1785750"/>
            <a:ext cx="3030750" cy="1587333"/>
          </a:xfrm>
        </p:spPr>
        <p:txBody>
          <a:bodyPr/>
          <a:lstStyle>
            <a:lvl1pPr rtl="0">
              <a:defRPr/>
            </a:lvl1pPr>
            <a:lvl2pPr rtl="0">
              <a:defRPr/>
            </a:lvl2pPr>
          </a:lstStyle>
          <a:p>
            <a:pPr lvl="0"/>
            <a:r>
              <a:rPr lang="en-US"/>
              <a:t>Click to edit Master text styles</a:t>
            </a:r>
          </a:p>
          <a:p>
            <a:pPr lvl="1"/>
            <a:r>
              <a:rPr lang="en-US"/>
              <a:t>Second level</a:t>
            </a:r>
          </a:p>
        </p:txBody>
      </p:sp>
      <p:sp>
        <p:nvSpPr>
          <p:cNvPr id="9" name="Text Placeholder 4">
            <a:extLst>
              <a:ext uri="{FF2B5EF4-FFF2-40B4-BE49-F238E27FC236}">
                <a16:creationId xmlns:a16="http://schemas.microsoft.com/office/drawing/2014/main" id="{ECB7D4AA-5B2A-7FB5-9DBF-2107536DFEE8}"/>
              </a:ext>
            </a:extLst>
          </p:cNvPr>
          <p:cNvSpPr>
            <a:spLocks noGrp="1"/>
          </p:cNvSpPr>
          <p:nvPr>
            <p:ph type="body" sz="quarter" idx="42"/>
          </p:nvPr>
        </p:nvSpPr>
        <p:spPr>
          <a:xfrm>
            <a:off x="582837" y="5357250"/>
            <a:ext cx="3030750" cy="1587333"/>
          </a:xfrm>
        </p:spPr>
        <p:txBody>
          <a:bodyPr/>
          <a:lstStyle>
            <a:lvl1pPr rtl="0">
              <a:defRPr/>
            </a:lvl1pPr>
            <a:lvl2pPr rtl="0">
              <a:defRPr/>
            </a:lvl2pPr>
          </a:lstStyle>
          <a:p>
            <a:pPr lvl="0"/>
            <a:r>
              <a:rPr lang="en-US"/>
              <a:t>Click to edit Master text styles</a:t>
            </a:r>
          </a:p>
          <a:p>
            <a:pPr lvl="1"/>
            <a:r>
              <a:rPr lang="en-US"/>
              <a:t>Second level</a:t>
            </a:r>
          </a:p>
        </p:txBody>
      </p:sp>
      <p:sp>
        <p:nvSpPr>
          <p:cNvPr id="10" name="Text Placeholder 4">
            <a:extLst>
              <a:ext uri="{FF2B5EF4-FFF2-40B4-BE49-F238E27FC236}">
                <a16:creationId xmlns:a16="http://schemas.microsoft.com/office/drawing/2014/main" id="{E03EC81B-D6FD-D4E1-4D52-94891D112B20}"/>
              </a:ext>
            </a:extLst>
          </p:cNvPr>
          <p:cNvSpPr>
            <a:spLocks noGrp="1"/>
          </p:cNvSpPr>
          <p:nvPr>
            <p:ph type="body" sz="quarter" idx="43"/>
          </p:nvPr>
        </p:nvSpPr>
        <p:spPr>
          <a:xfrm>
            <a:off x="3830482" y="5357250"/>
            <a:ext cx="3030750" cy="1587333"/>
          </a:xfrm>
        </p:spPr>
        <p:txBody>
          <a:bodyPr/>
          <a:lstStyle>
            <a:lvl1pPr rtl="0">
              <a:defRPr/>
            </a:lvl1pPr>
            <a:lvl2pPr rtl="0">
              <a:defRPr/>
            </a:lvl2pPr>
          </a:lstStyle>
          <a:p>
            <a:pPr lvl="0"/>
            <a:r>
              <a:rPr lang="en-US"/>
              <a:t>Click to edit Master text styles</a:t>
            </a:r>
          </a:p>
          <a:p>
            <a:pPr lvl="1"/>
            <a:r>
              <a:rPr lang="en-US"/>
              <a:t>Second level</a:t>
            </a:r>
          </a:p>
        </p:txBody>
      </p:sp>
      <p:sp>
        <p:nvSpPr>
          <p:cNvPr id="11" name="Text Placeholder 4">
            <a:extLst>
              <a:ext uri="{FF2B5EF4-FFF2-40B4-BE49-F238E27FC236}">
                <a16:creationId xmlns:a16="http://schemas.microsoft.com/office/drawing/2014/main" id="{6CDAAE63-D373-8765-44D8-D9F73AC64B1F}"/>
              </a:ext>
            </a:extLst>
          </p:cNvPr>
          <p:cNvSpPr>
            <a:spLocks noGrp="1"/>
          </p:cNvSpPr>
          <p:nvPr>
            <p:ph type="body" sz="quarter" idx="44"/>
          </p:nvPr>
        </p:nvSpPr>
        <p:spPr>
          <a:xfrm>
            <a:off x="7078574" y="5357250"/>
            <a:ext cx="3030750" cy="1587333"/>
          </a:xfrm>
        </p:spPr>
        <p:txBody>
          <a:bodyPr/>
          <a:lstStyle>
            <a:lvl1pPr rtl="0">
              <a:defRPr/>
            </a:lvl1pPr>
            <a:lvl2pPr rtl="0">
              <a:defRPr/>
            </a:lvl2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D874BAAB-C7E5-A40B-C38C-ABA1D178BE13}"/>
              </a:ext>
            </a:extLst>
          </p:cNvPr>
          <p:cNvSpPr>
            <a:spLocks noGrp="1"/>
          </p:cNvSpPr>
          <p:nvPr>
            <p:ph type="body" sz="quarter" idx="45"/>
          </p:nvPr>
        </p:nvSpPr>
        <p:spPr>
          <a:xfrm>
            <a:off x="3830482" y="3571500"/>
            <a:ext cx="3030750" cy="1587333"/>
          </a:xfrm>
        </p:spPr>
        <p:txBody>
          <a:bodyPr/>
          <a:lstStyle>
            <a:lvl1pPr rtl="0">
              <a:defRPr/>
            </a:lvl1pPr>
            <a:lvl2pPr rtl="0">
              <a:defRPr/>
            </a:lvl2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9C9DAF8C-0E12-3BAE-AFB3-2A9DB79E09A4}"/>
              </a:ext>
            </a:extLst>
          </p:cNvPr>
          <p:cNvSpPr>
            <a:spLocks noGrp="1"/>
          </p:cNvSpPr>
          <p:nvPr>
            <p:ph type="body" sz="quarter" idx="46"/>
          </p:nvPr>
        </p:nvSpPr>
        <p:spPr>
          <a:xfrm>
            <a:off x="7078574" y="3571500"/>
            <a:ext cx="3030750" cy="1587333"/>
          </a:xfrm>
        </p:spPr>
        <p:txBody>
          <a:bodyPr/>
          <a:lstStyle>
            <a:lvl1pPr rtl="0">
              <a:defRPr/>
            </a:lvl1pPr>
            <a:lvl2pPr rtl="0">
              <a:defRPr/>
            </a:lvl2pPr>
          </a:lstStyle>
          <a:p>
            <a:pPr lvl="0"/>
            <a:r>
              <a:rPr lang="en-US"/>
              <a:t>Click to edit Master text styles</a:t>
            </a:r>
          </a:p>
          <a:p>
            <a:pPr lvl="1"/>
            <a:r>
              <a:rPr lang="en-US"/>
              <a:t>Second level</a:t>
            </a:r>
          </a:p>
        </p:txBody>
      </p:sp>
      <p:sp>
        <p:nvSpPr>
          <p:cNvPr id="26" name="Text Placeholder 4">
            <a:extLst>
              <a:ext uri="{FF2B5EF4-FFF2-40B4-BE49-F238E27FC236}">
                <a16:creationId xmlns:a16="http://schemas.microsoft.com/office/drawing/2014/main" id="{C34E5472-68E0-E987-896B-A23A5EFA69A2}"/>
              </a:ext>
            </a:extLst>
          </p:cNvPr>
          <p:cNvSpPr>
            <a:spLocks noGrp="1"/>
          </p:cNvSpPr>
          <p:nvPr>
            <p:ph type="body" sz="quarter" idx="47"/>
          </p:nvPr>
        </p:nvSpPr>
        <p:spPr>
          <a:xfrm>
            <a:off x="3830482" y="1785750"/>
            <a:ext cx="3030750" cy="1587333"/>
          </a:xfrm>
        </p:spPr>
        <p:txBody>
          <a:bodyPr/>
          <a:lstStyle>
            <a:lvl1pPr rtl="0">
              <a:defRPr/>
            </a:lvl1pPr>
            <a:lvl2pPr rtl="0">
              <a:defRPr/>
            </a:lvl2pPr>
          </a:lstStyle>
          <a:p>
            <a:pPr lvl="0"/>
            <a:r>
              <a:rPr lang="en-US"/>
              <a:t>Click to edit Master text styles</a:t>
            </a:r>
          </a:p>
          <a:p>
            <a:pPr lvl="1"/>
            <a:r>
              <a:rPr lang="en-US"/>
              <a:t>Second level</a:t>
            </a:r>
          </a:p>
        </p:txBody>
      </p:sp>
      <p:sp>
        <p:nvSpPr>
          <p:cNvPr id="27" name="Text Placeholder 4">
            <a:extLst>
              <a:ext uri="{FF2B5EF4-FFF2-40B4-BE49-F238E27FC236}">
                <a16:creationId xmlns:a16="http://schemas.microsoft.com/office/drawing/2014/main" id="{4570CA35-5E3F-47B8-5927-17B706641A0E}"/>
              </a:ext>
            </a:extLst>
          </p:cNvPr>
          <p:cNvSpPr>
            <a:spLocks noGrp="1"/>
          </p:cNvSpPr>
          <p:nvPr>
            <p:ph type="body" sz="quarter" idx="48"/>
          </p:nvPr>
        </p:nvSpPr>
        <p:spPr>
          <a:xfrm>
            <a:off x="7078574" y="1785750"/>
            <a:ext cx="3030750" cy="1587333"/>
          </a:xfrm>
        </p:spPr>
        <p:txBody>
          <a:bodyPr/>
          <a:lstStyle>
            <a:lvl1pPr rtl="0">
              <a:defRPr/>
            </a:lvl1pPr>
            <a:lvl2pPr rtl="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046389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plit Table 3 column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3625C4-8F81-F247-B616-43590F587495}"/>
              </a:ext>
            </a:extLst>
          </p:cNvPr>
          <p:cNvGraphicFramePr>
            <a:graphicFrameLocks noChangeAspect="1"/>
          </p:cNvGraphicFramePr>
          <p:nvPr userDrawn="1">
            <p:custDataLst>
              <p:tags r:id="rId1"/>
            </p:custDataLst>
            <p:extLst>
              <p:ext uri="{D42A27DB-BD31-4B8C-83A1-F6EECF244321}">
                <p14:modId xmlns:p14="http://schemas.microsoft.com/office/powerpoint/2010/main" val="63167042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413625C4-8F81-F247-B616-43590F587495}"/>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pic>
        <p:nvPicPr>
          <p:cNvPr id="21" name="Picture 20"/>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9" name="Text Placeholder 8"/>
          <p:cNvSpPr>
            <a:spLocks noGrp="1"/>
          </p:cNvSpPr>
          <p:nvPr>
            <p:ph type="body" sz="quarter" idx="10" hasCustomPrompt="1"/>
          </p:nvPr>
        </p:nvSpPr>
        <p:spPr>
          <a:xfrm>
            <a:off x="582839" y="1785750"/>
            <a:ext cx="2836471" cy="238100"/>
          </a:xfrm>
          <a:solidFill>
            <a:schemeClr val="bg2"/>
          </a:solidFill>
          <a:ln w="19050">
            <a:noFill/>
          </a:ln>
        </p:spPr>
        <p:txBody>
          <a:bodyPr lIns="108000" tIns="46800" rIns="108000" anchor="ctr"/>
          <a:lstStyle>
            <a:lvl1pPr algn="ctr" rtl="0">
              <a:defRPr sz="1333" baseline="0">
                <a:solidFill>
                  <a:schemeClr val="bg1"/>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34" name="Text Placeholder 8"/>
          <p:cNvSpPr>
            <a:spLocks noGrp="1"/>
          </p:cNvSpPr>
          <p:nvPr>
            <p:ph type="body" sz="quarter" idx="21" hasCustomPrompt="1"/>
          </p:nvPr>
        </p:nvSpPr>
        <p:spPr>
          <a:xfrm>
            <a:off x="3924435" y="1785750"/>
            <a:ext cx="2836471" cy="238100"/>
          </a:xfrm>
          <a:solidFill>
            <a:schemeClr val="bg2"/>
          </a:solidFill>
          <a:ln w="19050">
            <a:noFill/>
          </a:ln>
        </p:spPr>
        <p:txBody>
          <a:bodyPr lIns="108000" tIns="46800" rIns="108000" anchor="ctr"/>
          <a:lstStyle>
            <a:lvl1pPr algn="ctr" rtl="0">
              <a:defRPr sz="1333" baseline="0">
                <a:solidFill>
                  <a:schemeClr val="bg1"/>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39" name="Text Placeholder 8"/>
          <p:cNvSpPr>
            <a:spLocks noGrp="1"/>
          </p:cNvSpPr>
          <p:nvPr>
            <p:ph type="body" sz="quarter" idx="24" hasCustomPrompt="1"/>
          </p:nvPr>
        </p:nvSpPr>
        <p:spPr>
          <a:xfrm>
            <a:off x="7266031" y="1785750"/>
            <a:ext cx="2836471" cy="238100"/>
          </a:xfrm>
          <a:solidFill>
            <a:schemeClr val="bg2"/>
          </a:solidFill>
          <a:ln w="19050">
            <a:noFill/>
          </a:ln>
        </p:spPr>
        <p:txBody>
          <a:bodyPr lIns="108000" tIns="46800" rIns="108000" anchor="ctr"/>
          <a:lstStyle>
            <a:lvl1pPr algn="ctr" rtl="0">
              <a:defRPr sz="1333" baseline="0">
                <a:solidFill>
                  <a:schemeClr val="bg1"/>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3" name="Title 1">
            <a:extLst>
              <a:ext uri="{FF2B5EF4-FFF2-40B4-BE49-F238E27FC236}">
                <a16:creationId xmlns:a16="http://schemas.microsoft.com/office/drawing/2014/main" id="{5F516FE2-6171-EC67-1856-4BB875617195}"/>
              </a:ext>
            </a:extLst>
          </p:cNvPr>
          <p:cNvSpPr>
            <a:spLocks noGrp="1"/>
          </p:cNvSpPr>
          <p:nvPr>
            <p:ph type="title" hasCustomPrompt="1"/>
          </p:nvPr>
        </p:nvSpPr>
        <p:spPr>
          <a:xfrm>
            <a:off x="582836"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4" name="TextBox 3">
            <a:extLst>
              <a:ext uri="{FF2B5EF4-FFF2-40B4-BE49-F238E27FC236}">
                <a16:creationId xmlns:a16="http://schemas.microsoft.com/office/drawing/2014/main" id="{85491F48-285D-7411-5B3F-02CBE127330B}"/>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5">
            <a:extLst>
              <a:ext uri="{FF2B5EF4-FFF2-40B4-BE49-F238E27FC236}">
                <a16:creationId xmlns:a16="http://schemas.microsoft.com/office/drawing/2014/main" id="{F715D801-AC3C-50D4-E761-7744571B3721}"/>
              </a:ext>
            </a:extLst>
          </p:cNvPr>
          <p:cNvSpPr>
            <a:spLocks noGrp="1"/>
          </p:cNvSpPr>
          <p:nvPr>
            <p:ph type="body" sz="quarter" idx="14"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6" name="Text Placeholder 4">
            <a:extLst>
              <a:ext uri="{FF2B5EF4-FFF2-40B4-BE49-F238E27FC236}">
                <a16:creationId xmlns:a16="http://schemas.microsoft.com/office/drawing/2014/main" id="{47FE00A9-C1E9-4699-C215-CEB6480B153B}"/>
              </a:ext>
            </a:extLst>
          </p:cNvPr>
          <p:cNvSpPr>
            <a:spLocks noGrp="1"/>
          </p:cNvSpPr>
          <p:nvPr>
            <p:ph type="body" sz="quarter" idx="33"/>
          </p:nvPr>
        </p:nvSpPr>
        <p:spPr>
          <a:xfrm>
            <a:off x="582839" y="2182583"/>
            <a:ext cx="2836471" cy="460326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Text Placeholder 4">
            <a:extLst>
              <a:ext uri="{FF2B5EF4-FFF2-40B4-BE49-F238E27FC236}">
                <a16:creationId xmlns:a16="http://schemas.microsoft.com/office/drawing/2014/main" id="{88A8653A-6DB0-0BF4-BB38-FC0D7F86A37A}"/>
              </a:ext>
            </a:extLst>
          </p:cNvPr>
          <p:cNvSpPr>
            <a:spLocks noGrp="1"/>
          </p:cNvSpPr>
          <p:nvPr>
            <p:ph type="body" sz="quarter" idx="34"/>
          </p:nvPr>
        </p:nvSpPr>
        <p:spPr>
          <a:xfrm>
            <a:off x="7266031" y="2182583"/>
            <a:ext cx="2836471" cy="460326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4">
            <a:extLst>
              <a:ext uri="{FF2B5EF4-FFF2-40B4-BE49-F238E27FC236}">
                <a16:creationId xmlns:a16="http://schemas.microsoft.com/office/drawing/2014/main" id="{80593F2C-33CB-EFAA-5455-90DA59D4BDDA}"/>
              </a:ext>
            </a:extLst>
          </p:cNvPr>
          <p:cNvSpPr>
            <a:spLocks noGrp="1"/>
          </p:cNvSpPr>
          <p:nvPr>
            <p:ph type="body" sz="quarter" idx="35"/>
          </p:nvPr>
        </p:nvSpPr>
        <p:spPr>
          <a:xfrm>
            <a:off x="3924435" y="2182583"/>
            <a:ext cx="2836471" cy="4603266"/>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9454646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ulmns with ic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5B1AE2-38D0-8AF5-C915-980824C5ABFD}"/>
              </a:ext>
            </a:extLst>
          </p:cNvPr>
          <p:cNvGraphicFramePr>
            <a:graphicFrameLocks noChangeAspect="1"/>
          </p:cNvGraphicFramePr>
          <p:nvPr userDrawn="1">
            <p:custDataLst>
              <p:tags r:id="rId1"/>
            </p:custDataLst>
            <p:extLst>
              <p:ext uri="{D42A27DB-BD31-4B8C-83A1-F6EECF244321}">
                <p14:modId xmlns:p14="http://schemas.microsoft.com/office/powerpoint/2010/main" val="3522204273"/>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025B1AE2-38D0-8AF5-C915-980824C5ABFD}"/>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7" name="Text Placeholder 4">
            <a:extLst>
              <a:ext uri="{FF2B5EF4-FFF2-40B4-BE49-F238E27FC236}">
                <a16:creationId xmlns:a16="http://schemas.microsoft.com/office/drawing/2014/main" id="{9C889FA7-911E-1716-A1FA-8FC54DCAA3AA}"/>
              </a:ext>
            </a:extLst>
          </p:cNvPr>
          <p:cNvSpPr>
            <a:spLocks noGrp="1"/>
          </p:cNvSpPr>
          <p:nvPr>
            <p:ph type="body" sz="quarter" idx="34"/>
          </p:nvPr>
        </p:nvSpPr>
        <p:spPr>
          <a:xfrm>
            <a:off x="5969957" y="3857505"/>
            <a:ext cx="3264247" cy="206372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0" name="Picture 19"/>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3" name="Text Placeholder 12"/>
          <p:cNvSpPr>
            <a:spLocks noGrp="1"/>
          </p:cNvSpPr>
          <p:nvPr>
            <p:ph type="body" sz="quarter" idx="12" hasCustomPrompt="1"/>
          </p:nvPr>
        </p:nvSpPr>
        <p:spPr>
          <a:xfrm>
            <a:off x="1459897" y="3222463"/>
            <a:ext cx="3264247" cy="238100"/>
          </a:xfrm>
          <a:noFill/>
          <a:ln>
            <a:noFill/>
          </a:ln>
        </p:spPr>
        <p:txBody>
          <a:bodyPr lIns="0" tIns="36000" rIns="0" bIns="36000" anchor="ctr"/>
          <a:lstStyle>
            <a:lvl1pPr algn="ctr" rtl="0">
              <a:defRPr sz="1333" b="1">
                <a:solidFill>
                  <a:schemeClr val="accent2"/>
                </a:solidFill>
                <a:latin typeface="+mn-lt"/>
              </a:defRPr>
            </a:lvl1pPr>
          </a:lstStyle>
          <a:p>
            <a:pPr lvl="0"/>
            <a:r>
              <a:rPr lang="en-AU" noProof="0"/>
              <a:t>TITLE</a:t>
            </a:r>
          </a:p>
        </p:txBody>
      </p:sp>
      <p:sp>
        <p:nvSpPr>
          <p:cNvPr id="19" name="Picture Placeholder 18"/>
          <p:cNvSpPr>
            <a:spLocks noGrp="1"/>
          </p:cNvSpPr>
          <p:nvPr>
            <p:ph type="pic" sz="quarter" idx="16" hasCustomPrompt="1"/>
          </p:nvPr>
        </p:nvSpPr>
        <p:spPr>
          <a:xfrm>
            <a:off x="2897742" y="2432280"/>
            <a:ext cx="388558" cy="396833"/>
          </a:xfrm>
        </p:spPr>
        <p:txBody>
          <a:bodyPr/>
          <a:lstStyle>
            <a:lvl1pPr rtl="0">
              <a:defRPr>
                <a:solidFill>
                  <a:schemeClr val="bg2"/>
                </a:solidFill>
              </a:defRPr>
            </a:lvl1pPr>
          </a:lstStyle>
          <a:p>
            <a:r>
              <a:rPr lang="en-AU" noProof="0"/>
              <a:t>Icon</a:t>
            </a:r>
          </a:p>
        </p:txBody>
      </p:sp>
      <p:sp>
        <p:nvSpPr>
          <p:cNvPr id="21" name="Picture Placeholder 18"/>
          <p:cNvSpPr>
            <a:spLocks noGrp="1"/>
          </p:cNvSpPr>
          <p:nvPr>
            <p:ph type="pic" sz="quarter" idx="17" hasCustomPrompt="1"/>
          </p:nvPr>
        </p:nvSpPr>
        <p:spPr>
          <a:xfrm>
            <a:off x="7407802" y="2432280"/>
            <a:ext cx="388558" cy="396833"/>
          </a:xfrm>
        </p:spPr>
        <p:txBody>
          <a:bodyPr/>
          <a:lstStyle>
            <a:lvl1pPr rtl="0">
              <a:defRPr>
                <a:solidFill>
                  <a:schemeClr val="bg2"/>
                </a:solidFill>
              </a:defRPr>
            </a:lvl1pPr>
          </a:lstStyle>
          <a:p>
            <a:r>
              <a:rPr lang="en-AU" noProof="0"/>
              <a:t>Icon</a:t>
            </a:r>
          </a:p>
        </p:txBody>
      </p:sp>
      <p:sp>
        <p:nvSpPr>
          <p:cNvPr id="17" name="Text Placeholder 12"/>
          <p:cNvSpPr>
            <a:spLocks noGrp="1"/>
          </p:cNvSpPr>
          <p:nvPr>
            <p:ph type="body" sz="quarter" idx="26" hasCustomPrompt="1"/>
          </p:nvPr>
        </p:nvSpPr>
        <p:spPr>
          <a:xfrm>
            <a:off x="5969957" y="3222463"/>
            <a:ext cx="3264247" cy="238100"/>
          </a:xfrm>
          <a:noFill/>
          <a:ln>
            <a:noFill/>
          </a:ln>
        </p:spPr>
        <p:txBody>
          <a:bodyPr lIns="0" tIns="36000" rIns="0" bIns="36000" anchor="ctr"/>
          <a:lstStyle>
            <a:lvl1pPr algn="ctr" rtl="0">
              <a:defRPr sz="1333" b="1">
                <a:solidFill>
                  <a:schemeClr val="accent3"/>
                </a:solidFill>
                <a:latin typeface="+mn-lt"/>
              </a:defRPr>
            </a:lvl1pPr>
          </a:lstStyle>
          <a:p>
            <a:pPr lvl="0"/>
            <a:r>
              <a:rPr lang="en-AU" noProof="0"/>
              <a:t>TITLE</a:t>
            </a:r>
          </a:p>
        </p:txBody>
      </p:sp>
      <p:sp>
        <p:nvSpPr>
          <p:cNvPr id="3" name="Title 1">
            <a:extLst>
              <a:ext uri="{FF2B5EF4-FFF2-40B4-BE49-F238E27FC236}">
                <a16:creationId xmlns:a16="http://schemas.microsoft.com/office/drawing/2014/main" id="{EFD48342-6DAC-32CC-BCB9-DD47CCDCFA1E}"/>
              </a:ext>
            </a:extLst>
          </p:cNvPr>
          <p:cNvSpPr>
            <a:spLocks noGrp="1"/>
          </p:cNvSpPr>
          <p:nvPr>
            <p:ph type="title" hasCustomPrompt="1"/>
          </p:nvPr>
        </p:nvSpPr>
        <p:spPr>
          <a:xfrm>
            <a:off x="582836"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4" name="TextBox 3">
            <a:extLst>
              <a:ext uri="{FF2B5EF4-FFF2-40B4-BE49-F238E27FC236}">
                <a16:creationId xmlns:a16="http://schemas.microsoft.com/office/drawing/2014/main" id="{4A5BA088-B00C-CA6B-E648-A6ED3694AACF}"/>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5">
            <a:extLst>
              <a:ext uri="{FF2B5EF4-FFF2-40B4-BE49-F238E27FC236}">
                <a16:creationId xmlns:a16="http://schemas.microsoft.com/office/drawing/2014/main" id="{FBEE0077-EE57-FF06-64B7-0EBAD862E981}"/>
              </a:ext>
            </a:extLst>
          </p:cNvPr>
          <p:cNvSpPr>
            <a:spLocks noGrp="1"/>
          </p:cNvSpPr>
          <p:nvPr>
            <p:ph type="body" sz="quarter" idx="28"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6" name="Text Placeholder 4">
            <a:extLst>
              <a:ext uri="{FF2B5EF4-FFF2-40B4-BE49-F238E27FC236}">
                <a16:creationId xmlns:a16="http://schemas.microsoft.com/office/drawing/2014/main" id="{B2AE465F-9833-07F8-029A-A2E7F75231CB}"/>
              </a:ext>
            </a:extLst>
          </p:cNvPr>
          <p:cNvSpPr>
            <a:spLocks noGrp="1"/>
          </p:cNvSpPr>
          <p:nvPr>
            <p:ph type="body" sz="quarter" idx="33"/>
          </p:nvPr>
        </p:nvSpPr>
        <p:spPr>
          <a:xfrm>
            <a:off x="1459900" y="3857505"/>
            <a:ext cx="3264247" cy="206372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457816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s with icon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15367673"/>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pic>
        <p:nvPicPr>
          <p:cNvPr id="20" name="Picture 19"/>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2"/>
            <a:ext cx="10691098" cy="120927"/>
          </a:xfrm>
          <a:prstGeom prst="rect">
            <a:avLst/>
          </a:prstGeom>
        </p:spPr>
      </p:pic>
      <p:sp>
        <p:nvSpPr>
          <p:cNvPr id="13" name="Rectangle 12"/>
          <p:cNvSpPr/>
          <p:nvPr userDrawn="1"/>
        </p:nvSpPr>
        <p:spPr>
          <a:xfrm>
            <a:off x="1" y="1874827"/>
            <a:ext cx="10691813" cy="50895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sz="1846" noProof="0"/>
          </a:p>
        </p:txBody>
      </p:sp>
      <p:sp>
        <p:nvSpPr>
          <p:cNvPr id="14" name="Text Placeholder 12"/>
          <p:cNvSpPr>
            <a:spLocks noGrp="1"/>
          </p:cNvSpPr>
          <p:nvPr>
            <p:ph type="body" sz="quarter" idx="12" hasCustomPrompt="1"/>
          </p:nvPr>
        </p:nvSpPr>
        <p:spPr>
          <a:xfrm>
            <a:off x="1459897" y="3382960"/>
            <a:ext cx="3264247" cy="238100"/>
          </a:xfrm>
          <a:noFill/>
          <a:ln>
            <a:noFill/>
          </a:ln>
        </p:spPr>
        <p:txBody>
          <a:bodyPr lIns="0" tIns="36000" rIns="0" bIns="36000" anchor="ctr"/>
          <a:lstStyle>
            <a:lvl1pPr algn="ctr" rtl="0">
              <a:defRPr sz="1333" b="1">
                <a:solidFill>
                  <a:schemeClr val="tx2"/>
                </a:solidFill>
                <a:latin typeface="+mn-lt"/>
              </a:defRPr>
            </a:lvl1pPr>
          </a:lstStyle>
          <a:p>
            <a:pPr lvl="0"/>
            <a:r>
              <a:rPr lang="en-AU" noProof="0"/>
              <a:t>TITLE</a:t>
            </a:r>
          </a:p>
        </p:txBody>
      </p:sp>
      <p:sp>
        <p:nvSpPr>
          <p:cNvPr id="16" name="Picture Placeholder 18"/>
          <p:cNvSpPr>
            <a:spLocks noGrp="1" noChangeAspect="1"/>
          </p:cNvSpPr>
          <p:nvPr>
            <p:ph type="pic" sz="quarter" idx="16" hasCustomPrompt="1"/>
          </p:nvPr>
        </p:nvSpPr>
        <p:spPr>
          <a:xfrm>
            <a:off x="2897742" y="2592777"/>
            <a:ext cx="388558" cy="396833"/>
          </a:xfrm>
        </p:spPr>
        <p:txBody>
          <a:bodyPr/>
          <a:lstStyle>
            <a:lvl1pPr rtl="0">
              <a:defRPr>
                <a:solidFill>
                  <a:schemeClr val="bg2"/>
                </a:solidFill>
              </a:defRPr>
            </a:lvl1pPr>
          </a:lstStyle>
          <a:p>
            <a:r>
              <a:rPr lang="en-AU" noProof="0"/>
              <a:t>Icon</a:t>
            </a:r>
          </a:p>
        </p:txBody>
      </p:sp>
      <p:sp>
        <p:nvSpPr>
          <p:cNvPr id="18" name="Picture Placeholder 18"/>
          <p:cNvSpPr>
            <a:spLocks noGrp="1" noChangeAspect="1"/>
          </p:cNvSpPr>
          <p:nvPr>
            <p:ph type="pic" sz="quarter" idx="17" hasCustomPrompt="1"/>
          </p:nvPr>
        </p:nvSpPr>
        <p:spPr>
          <a:xfrm>
            <a:off x="7395229" y="2592777"/>
            <a:ext cx="388558" cy="396833"/>
          </a:xfrm>
        </p:spPr>
        <p:txBody>
          <a:bodyPr/>
          <a:lstStyle>
            <a:lvl1pPr rtl="0">
              <a:defRPr>
                <a:solidFill>
                  <a:schemeClr val="bg2"/>
                </a:solidFill>
              </a:defRPr>
            </a:lvl1pPr>
          </a:lstStyle>
          <a:p>
            <a:r>
              <a:rPr lang="en-AU" noProof="0"/>
              <a:t>Icon</a:t>
            </a:r>
          </a:p>
        </p:txBody>
      </p:sp>
      <p:sp>
        <p:nvSpPr>
          <p:cNvPr id="19" name="Text Placeholder 12"/>
          <p:cNvSpPr>
            <a:spLocks noGrp="1"/>
          </p:cNvSpPr>
          <p:nvPr>
            <p:ph type="body" sz="quarter" idx="26" hasCustomPrompt="1"/>
          </p:nvPr>
        </p:nvSpPr>
        <p:spPr>
          <a:xfrm>
            <a:off x="5957385" y="3382960"/>
            <a:ext cx="3264247" cy="238100"/>
          </a:xfrm>
          <a:noFill/>
          <a:ln>
            <a:noFill/>
          </a:ln>
        </p:spPr>
        <p:txBody>
          <a:bodyPr lIns="0" tIns="36000" rIns="0" bIns="36000" anchor="ctr"/>
          <a:lstStyle>
            <a:lvl1pPr algn="ctr" rtl="0">
              <a:defRPr sz="1333" b="1">
                <a:solidFill>
                  <a:schemeClr val="accent6"/>
                </a:solidFill>
                <a:latin typeface="+mn-lt"/>
              </a:defRPr>
            </a:lvl1pPr>
          </a:lstStyle>
          <a:p>
            <a:pPr lvl="0"/>
            <a:r>
              <a:rPr lang="en-AU" noProof="0"/>
              <a:t>TITLE</a:t>
            </a:r>
          </a:p>
        </p:txBody>
      </p:sp>
      <p:sp>
        <p:nvSpPr>
          <p:cNvPr id="4" name="Title 1">
            <a:extLst>
              <a:ext uri="{FF2B5EF4-FFF2-40B4-BE49-F238E27FC236}">
                <a16:creationId xmlns:a16="http://schemas.microsoft.com/office/drawing/2014/main" id="{3F2B605E-A6B3-084F-D217-C1074C9AA0BC}"/>
              </a:ext>
            </a:extLst>
          </p:cNvPr>
          <p:cNvSpPr>
            <a:spLocks noGrp="1"/>
          </p:cNvSpPr>
          <p:nvPr>
            <p:ph type="title" hasCustomPrompt="1"/>
          </p:nvPr>
        </p:nvSpPr>
        <p:spPr>
          <a:xfrm>
            <a:off x="582836" y="436518"/>
            <a:ext cx="9519664" cy="376371"/>
          </a:xfrm>
        </p:spPr>
        <p:txBody>
          <a:bodyPr vert="horz"/>
          <a:lstStyle>
            <a:lvl1pPr algn="l" defTabSz="937623" rtl="0" eaLnBrk="1" latinLnBrk="0" hangingPunct="1">
              <a:lnSpc>
                <a:spcPct val="100000"/>
              </a:lnSpc>
              <a:spcBef>
                <a:spcPct val="0"/>
              </a:spcBef>
              <a:buNone/>
              <a:defRPr lang="en-AU" sz="1846" kern="1200" baseline="0" noProof="0" dirty="0">
                <a:solidFill>
                  <a:schemeClr val="bg2"/>
                </a:solidFill>
                <a:latin typeface="Segoe UI Semibold" panose="020B0702040204020203" pitchFamily="34" charset="0"/>
                <a:ea typeface="+mj-ea"/>
                <a:cs typeface="+mj-cs"/>
              </a:defRPr>
            </a:lvl1pPr>
          </a:lstStyle>
          <a:p>
            <a:r>
              <a:rPr lang="en-AU" noProof="0"/>
              <a:t>Governing thought (2 lines max)</a:t>
            </a:r>
          </a:p>
        </p:txBody>
      </p:sp>
      <p:sp>
        <p:nvSpPr>
          <p:cNvPr id="6" name="TextBox 5">
            <a:extLst>
              <a:ext uri="{FF2B5EF4-FFF2-40B4-BE49-F238E27FC236}">
                <a16:creationId xmlns:a16="http://schemas.microsoft.com/office/drawing/2014/main" id="{DF451653-6C1D-77DC-AD57-39D9BA959C98}"/>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E9F862EB-E8ED-FB71-C4B8-DEAEB379B458}"/>
              </a:ext>
            </a:extLst>
          </p:cNvPr>
          <p:cNvSpPr>
            <a:spLocks noGrp="1"/>
          </p:cNvSpPr>
          <p:nvPr>
            <p:ph type="body" sz="quarter" idx="28" hasCustomPrompt="1"/>
          </p:nvPr>
        </p:nvSpPr>
        <p:spPr>
          <a:xfrm>
            <a:off x="582837" y="1150817"/>
            <a:ext cx="9519664" cy="476200"/>
          </a:xfrm>
        </p:spPr>
        <p:txBody>
          <a:bodyPr/>
          <a:lstStyle>
            <a:lvl1pPr rtl="0">
              <a:defRPr sz="1127">
                <a:solidFill>
                  <a:schemeClr val="bg2"/>
                </a:solidFill>
              </a:defRPr>
            </a:lvl1pPr>
          </a:lstStyle>
          <a:p>
            <a:pPr lvl="0"/>
            <a:r>
              <a:rPr lang="en-AU" noProof="0"/>
              <a:t>Intro text (2 lines max)</a:t>
            </a:r>
          </a:p>
        </p:txBody>
      </p:sp>
      <p:sp>
        <p:nvSpPr>
          <p:cNvPr id="8" name="Text Placeholder 4">
            <a:extLst>
              <a:ext uri="{FF2B5EF4-FFF2-40B4-BE49-F238E27FC236}">
                <a16:creationId xmlns:a16="http://schemas.microsoft.com/office/drawing/2014/main" id="{323D270A-DBF6-7376-3E64-E19089A7EEB4}"/>
              </a:ext>
            </a:extLst>
          </p:cNvPr>
          <p:cNvSpPr>
            <a:spLocks noGrp="1"/>
          </p:cNvSpPr>
          <p:nvPr>
            <p:ph type="body" sz="quarter" idx="34"/>
          </p:nvPr>
        </p:nvSpPr>
        <p:spPr>
          <a:xfrm>
            <a:off x="5969957" y="3857505"/>
            <a:ext cx="3264247" cy="2063725"/>
          </a:xfrm>
        </p:spPr>
        <p:txBody>
          <a:bodyPr/>
          <a:lstStyle>
            <a:lvl1pPr rtl="0">
              <a:defRPr>
                <a:solidFill>
                  <a:schemeClr val="bg2"/>
                </a:solidFill>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4">
            <a:extLst>
              <a:ext uri="{FF2B5EF4-FFF2-40B4-BE49-F238E27FC236}">
                <a16:creationId xmlns:a16="http://schemas.microsoft.com/office/drawing/2014/main" id="{94D00CD0-DEA2-8DF9-54BE-53E6F64172DD}"/>
              </a:ext>
            </a:extLst>
          </p:cNvPr>
          <p:cNvSpPr>
            <a:spLocks noGrp="1"/>
          </p:cNvSpPr>
          <p:nvPr>
            <p:ph type="body" sz="quarter" idx="33"/>
          </p:nvPr>
        </p:nvSpPr>
        <p:spPr>
          <a:xfrm>
            <a:off x="1459900" y="3857505"/>
            <a:ext cx="3264247" cy="2063725"/>
          </a:xfrm>
        </p:spPr>
        <p:txBody>
          <a:bodyPr/>
          <a:lstStyle>
            <a:lvl1pPr rtl="0">
              <a:defRPr>
                <a:solidFill>
                  <a:schemeClr val="bg2"/>
                </a:solidFill>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1400533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bout Nous_AU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0446A2-F275-825D-D912-90CE59C00409}"/>
              </a:ext>
            </a:extLst>
          </p:cNvPr>
          <p:cNvGraphicFramePr>
            <a:graphicFrameLocks noChangeAspect="1"/>
          </p:cNvGraphicFramePr>
          <p:nvPr userDrawn="1">
            <p:custDataLst>
              <p:tags r:id="rId1"/>
            </p:custDataLst>
            <p:extLst>
              <p:ext uri="{D42A27DB-BD31-4B8C-83A1-F6EECF244321}">
                <p14:modId xmlns:p14="http://schemas.microsoft.com/office/powerpoint/2010/main" val="2184307918"/>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DA0446A2-F275-825D-D912-90CE59C00409}"/>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64254030-F3B6-4C76-99C1-8A25B8D69F4B}"/>
              </a:ext>
            </a:extLst>
          </p:cNvPr>
          <p:cNvSpPr/>
          <p:nvPr userDrawn="1"/>
        </p:nvSpPr>
        <p:spPr>
          <a:xfrm>
            <a:off x="1" y="5073548"/>
            <a:ext cx="10691814" cy="18125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846"/>
          </a:p>
        </p:txBody>
      </p:sp>
      <p:pic>
        <p:nvPicPr>
          <p:cNvPr id="32" name="Picture 31">
            <a:extLst>
              <a:ext uri="{FF2B5EF4-FFF2-40B4-BE49-F238E27FC236}">
                <a16:creationId xmlns:a16="http://schemas.microsoft.com/office/drawing/2014/main" id="{33092F77-75E3-C2C2-D9BD-0F104DB4CA87}"/>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10696993" cy="120927"/>
          </a:xfrm>
          <a:prstGeom prst="rect">
            <a:avLst/>
          </a:prstGeom>
        </p:spPr>
      </p:pic>
      <p:pic>
        <p:nvPicPr>
          <p:cNvPr id="42" name="Picture 41">
            <a:extLst>
              <a:ext uri="{FF2B5EF4-FFF2-40B4-BE49-F238E27FC236}">
                <a16:creationId xmlns:a16="http://schemas.microsoft.com/office/drawing/2014/main" id="{289EB9F7-C140-08A1-641B-D4D4A4379A5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3927961" y="1636706"/>
            <a:ext cx="2833292" cy="1221517"/>
          </a:xfrm>
          <a:prstGeom prst="rect">
            <a:avLst/>
          </a:prstGeom>
        </p:spPr>
      </p:pic>
      <p:cxnSp>
        <p:nvCxnSpPr>
          <p:cNvPr id="16" name="Straight Connector 15">
            <a:extLst>
              <a:ext uri="{FF2B5EF4-FFF2-40B4-BE49-F238E27FC236}">
                <a16:creationId xmlns:a16="http://schemas.microsoft.com/office/drawing/2014/main" id="{5E0E8CF8-217C-F903-6A7A-C0C393CA4A28}"/>
              </a:ext>
            </a:extLst>
          </p:cNvPr>
          <p:cNvCxnSpPr>
            <a:cxnSpLocks/>
          </p:cNvCxnSpPr>
          <p:nvPr userDrawn="1"/>
        </p:nvCxnSpPr>
        <p:spPr>
          <a:xfrm>
            <a:off x="1459029" y="3339901"/>
            <a:ext cx="7771154" cy="0"/>
          </a:xfrm>
          <a:prstGeom prst="line">
            <a:avLst/>
          </a:prstGeom>
          <a:ln w="1270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54A179E-E291-DA53-B9AA-E630237E21F2}"/>
              </a:ext>
            </a:extLst>
          </p:cNvPr>
          <p:cNvSpPr/>
          <p:nvPr userDrawn="1"/>
        </p:nvSpPr>
        <p:spPr>
          <a:xfrm>
            <a:off x="1260057" y="3572426"/>
            <a:ext cx="8171704" cy="539763"/>
          </a:xfrm>
          <a:prstGeom prst="rect">
            <a:avLst/>
          </a:prstGeom>
        </p:spPr>
        <p:txBody>
          <a:bodyPr wrap="square">
            <a:spAutoFit/>
          </a:bodyPr>
          <a:lstStyle/>
          <a:p>
            <a:pPr algn="ctr" rtl="0">
              <a:lnSpc>
                <a:spcPct val="105000"/>
              </a:lnSpc>
            </a:pPr>
            <a:r>
              <a:rPr lang="en-AU" sz="1435" noProof="0">
                <a:solidFill>
                  <a:schemeClr val="bg2"/>
                </a:solidFill>
                <a:latin typeface="+mj-lt"/>
                <a:cs typeface="Segoe UI Semilight" panose="020B0402040204020203" pitchFamily="34" charset="0"/>
              </a:rPr>
              <a:t>Nous Group </a:t>
            </a:r>
            <a:r>
              <a:rPr lang="en-AU" sz="1435" noProof="0">
                <a:solidFill>
                  <a:schemeClr val="bg2"/>
                </a:solidFill>
                <a:latin typeface="Segoe UI Semilight" panose="020B0402040204020203" pitchFamily="34" charset="0"/>
                <a:cs typeface="Segoe UI Semilight" panose="020B0402040204020203" pitchFamily="34" charset="0"/>
              </a:rPr>
              <a:t>is an international management consultancy operating across</a:t>
            </a:r>
            <a:br>
              <a:rPr lang="en-AU" sz="1435" noProof="0">
                <a:solidFill>
                  <a:schemeClr val="bg2"/>
                </a:solidFill>
                <a:latin typeface="Segoe UI Semilight" panose="020B0402040204020203" pitchFamily="34" charset="0"/>
                <a:cs typeface="Segoe UI Semilight" panose="020B0402040204020203" pitchFamily="34" charset="0"/>
              </a:rPr>
            </a:br>
            <a:r>
              <a:rPr lang="en-AU" sz="1435" noProof="0">
                <a:solidFill>
                  <a:schemeClr val="bg2"/>
                </a:solidFill>
                <a:latin typeface="Segoe UI Semilight" panose="020B0402040204020203" pitchFamily="34" charset="0"/>
                <a:cs typeface="Segoe UI Semilight" panose="020B0402040204020203" pitchFamily="34" charset="0"/>
              </a:rPr>
              <a:t>Australia, New Zealand, the United Kingdom, Ireland and Canada.</a:t>
            </a:r>
          </a:p>
        </p:txBody>
      </p:sp>
      <p:sp>
        <p:nvSpPr>
          <p:cNvPr id="13" name="Rectangle 12">
            <a:extLst>
              <a:ext uri="{FF2B5EF4-FFF2-40B4-BE49-F238E27FC236}">
                <a16:creationId xmlns:a16="http://schemas.microsoft.com/office/drawing/2014/main" id="{90CCD8CF-ACB9-370A-47D2-EDE69933A091}"/>
              </a:ext>
            </a:extLst>
          </p:cNvPr>
          <p:cNvSpPr/>
          <p:nvPr userDrawn="1"/>
        </p:nvSpPr>
        <p:spPr>
          <a:xfrm>
            <a:off x="1459027" y="5489544"/>
            <a:ext cx="3886880" cy="959558"/>
          </a:xfrm>
          <a:prstGeom prst="rect">
            <a:avLst/>
          </a:prstGeom>
        </p:spPr>
        <p:txBody>
          <a:bodyPr wrap="square" lIns="0" anchor="ctr" anchorCtr="0">
            <a:spAutoFit/>
          </a:bodyPr>
          <a:lstStyle/>
          <a:p>
            <a:pPr rtl="0"/>
            <a:r>
              <a:rPr lang="en-AU" sz="1127">
                <a:solidFill>
                  <a:schemeClr val="bg1"/>
                </a:solidFill>
                <a:latin typeface="Segoe UI Semibold" panose="020B0702040204020203" pitchFamily="34" charset="0"/>
                <a:cs typeface="Segoe UI Semilight" panose="020B0402040204020203" pitchFamily="34" charset="0"/>
              </a:rPr>
              <a:t>We are inspired and determined to improve people’s lives in significant ways. When our strengths complement yours and we think big together, we can transform businesses, governments, and communities. We realise a bigger idea of success.</a:t>
            </a:r>
          </a:p>
        </p:txBody>
      </p:sp>
      <p:grpSp>
        <p:nvGrpSpPr>
          <p:cNvPr id="14" name="Group 13">
            <a:extLst>
              <a:ext uri="{FF2B5EF4-FFF2-40B4-BE49-F238E27FC236}">
                <a16:creationId xmlns:a16="http://schemas.microsoft.com/office/drawing/2014/main" id="{5899420D-516F-C052-6BA4-31D383A8901E}"/>
              </a:ext>
            </a:extLst>
          </p:cNvPr>
          <p:cNvGrpSpPr/>
          <p:nvPr userDrawn="1"/>
        </p:nvGrpSpPr>
        <p:grpSpPr>
          <a:xfrm>
            <a:off x="5762647" y="5489828"/>
            <a:ext cx="3669113" cy="956361"/>
            <a:chOff x="5339111" y="4980271"/>
            <a:chExt cx="3399445" cy="867593"/>
          </a:xfrm>
        </p:grpSpPr>
        <p:grpSp>
          <p:nvGrpSpPr>
            <p:cNvPr id="15" name="Group 14">
              <a:extLst>
                <a:ext uri="{FF2B5EF4-FFF2-40B4-BE49-F238E27FC236}">
                  <a16:creationId xmlns:a16="http://schemas.microsoft.com/office/drawing/2014/main" id="{3DF996AF-073B-9010-E30F-F9FED2F415F9}"/>
                </a:ext>
              </a:extLst>
            </p:cNvPr>
            <p:cNvGrpSpPr/>
            <p:nvPr userDrawn="1"/>
          </p:nvGrpSpPr>
          <p:grpSpPr>
            <a:xfrm>
              <a:off x="5339111" y="4980271"/>
              <a:ext cx="1008000" cy="867593"/>
              <a:chOff x="4644864" y="4980271"/>
              <a:chExt cx="1008000" cy="867593"/>
            </a:xfrm>
          </p:grpSpPr>
          <p:sp>
            <p:nvSpPr>
              <p:cNvPr id="25" name="Rectangle 24">
                <a:extLst>
                  <a:ext uri="{FF2B5EF4-FFF2-40B4-BE49-F238E27FC236}">
                    <a16:creationId xmlns:a16="http://schemas.microsoft.com/office/drawing/2014/main" id="{02BB2C85-7044-1049-4D51-A0EB1D1436FD}"/>
                  </a:ext>
                </a:extLst>
              </p:cNvPr>
              <p:cNvSpPr/>
              <p:nvPr userDrawn="1"/>
            </p:nvSpPr>
            <p:spPr>
              <a:xfrm>
                <a:off x="4644864" y="5592271"/>
                <a:ext cx="1008000" cy="255593"/>
              </a:xfrm>
              <a:prstGeom prst="rect">
                <a:avLst/>
              </a:prstGeom>
            </p:spPr>
            <p:txBody>
              <a:bodyPr wrap="square">
                <a:spAutoFit/>
              </a:bodyPr>
              <a:lstStyle/>
              <a:p>
                <a:pPr lvl="0" algn="ctr" rtl="0"/>
                <a:r>
                  <a:rPr lang="en-AU" sz="1231" b="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6" name="Freeform 70">
                <a:extLst>
                  <a:ext uri="{FF2B5EF4-FFF2-40B4-BE49-F238E27FC236}">
                    <a16:creationId xmlns:a16="http://schemas.microsoft.com/office/drawing/2014/main" id="{233AD65C-4E8F-9CD6-F7C8-A78A505867A2}"/>
                  </a:ext>
                </a:extLst>
              </p:cNvPr>
              <p:cNvSpPr>
                <a:spLocks noEditPoints="1"/>
              </p:cNvSpPr>
              <p:nvPr userDrawn="1"/>
            </p:nvSpPr>
            <p:spPr bwMode="auto">
              <a:xfrm>
                <a:off x="4860864" y="4980271"/>
                <a:ext cx="576000" cy="576000"/>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rtl="0"/>
                <a:r>
                  <a:rPr kumimoji="0" lang="en-AU" sz="1641" b="1" i="0" u="none" strike="noStrike" kern="1200" cap="none" spc="0" normalizeH="0" baseline="0" noProof="0">
                    <a:ln>
                      <a:noFill/>
                    </a:ln>
                    <a:solidFill>
                      <a:schemeClr val="bg1"/>
                    </a:solidFill>
                    <a:effectLst/>
                    <a:uLnTx/>
                    <a:uFillTx/>
                    <a:latin typeface="+mn-lt"/>
                    <a:ea typeface="+mn-ea"/>
                    <a:cs typeface="Segoe UI" panose="020B0502040204020203" pitchFamily="34" charset="0"/>
                  </a:rPr>
                  <a:t>750</a:t>
                </a:r>
                <a:endParaRPr lang="en-AU" sz="1641" b="1">
                  <a:solidFill>
                    <a:schemeClr val="bg1"/>
                  </a:solidFill>
                  <a:latin typeface="+mn-lt"/>
                  <a:cs typeface="Segoe UI" panose="020B0502040204020203" pitchFamily="34" charset="0"/>
                </a:endParaRPr>
              </a:p>
            </p:txBody>
          </p:sp>
        </p:grpSp>
        <p:grpSp>
          <p:nvGrpSpPr>
            <p:cNvPr id="18" name="Group 17">
              <a:extLst>
                <a:ext uri="{FF2B5EF4-FFF2-40B4-BE49-F238E27FC236}">
                  <a16:creationId xmlns:a16="http://schemas.microsoft.com/office/drawing/2014/main" id="{6D84A79B-5AE3-7122-9503-15845B2EFC27}"/>
                </a:ext>
              </a:extLst>
            </p:cNvPr>
            <p:cNvGrpSpPr/>
            <p:nvPr userDrawn="1"/>
          </p:nvGrpSpPr>
          <p:grpSpPr>
            <a:xfrm>
              <a:off x="6534834" y="4980271"/>
              <a:ext cx="1008000" cy="867593"/>
              <a:chOff x="6187710" y="4980271"/>
              <a:chExt cx="1008000" cy="867593"/>
            </a:xfrm>
          </p:grpSpPr>
          <p:sp>
            <p:nvSpPr>
              <p:cNvPr id="23" name="Rectangle 22">
                <a:extLst>
                  <a:ext uri="{FF2B5EF4-FFF2-40B4-BE49-F238E27FC236}">
                    <a16:creationId xmlns:a16="http://schemas.microsoft.com/office/drawing/2014/main" id="{24A0777E-2955-1D87-693A-1FFF46588E18}"/>
                  </a:ext>
                </a:extLst>
              </p:cNvPr>
              <p:cNvSpPr/>
              <p:nvPr userDrawn="1"/>
            </p:nvSpPr>
            <p:spPr>
              <a:xfrm>
                <a:off x="6187710" y="5592271"/>
                <a:ext cx="1008000" cy="255593"/>
              </a:xfrm>
              <a:prstGeom prst="rect">
                <a:avLst/>
              </a:prstGeom>
            </p:spPr>
            <p:txBody>
              <a:bodyPr wrap="square">
                <a:spAutoFit/>
              </a:bodyPr>
              <a:lstStyle/>
              <a:p>
                <a:pPr lvl="0" algn="ctr" rtl="0"/>
                <a:r>
                  <a:rPr lang="en-AU" sz="1231" b="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24" name="Freeform 70">
                <a:extLst>
                  <a:ext uri="{FF2B5EF4-FFF2-40B4-BE49-F238E27FC236}">
                    <a16:creationId xmlns:a16="http://schemas.microsoft.com/office/drawing/2014/main" id="{A3C68388-EBEC-7DD4-9D5A-DEC1BDDC9C6C}"/>
                  </a:ext>
                </a:extLst>
              </p:cNvPr>
              <p:cNvSpPr>
                <a:spLocks noEditPoints="1"/>
              </p:cNvSpPr>
              <p:nvPr userDrawn="1"/>
            </p:nvSpPr>
            <p:spPr bwMode="auto">
              <a:xfrm>
                <a:off x="6403710" y="4980271"/>
                <a:ext cx="576000" cy="576000"/>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rtl="0"/>
                <a:r>
                  <a:rPr kumimoji="0" lang="en-AU" sz="1641" b="1" i="0" u="none" strike="noStrike" kern="1200" cap="none" spc="0" normalizeH="0" baseline="0" noProof="0">
                    <a:ln>
                      <a:noFill/>
                    </a:ln>
                    <a:solidFill>
                      <a:schemeClr val="bg1"/>
                    </a:solidFill>
                    <a:effectLst/>
                    <a:uLnTx/>
                    <a:uFillTx/>
                    <a:latin typeface="+mn-lt"/>
                    <a:ea typeface="+mn-ea"/>
                    <a:cs typeface="Segoe UI Semibold" panose="020B0702040204020203" pitchFamily="34" charset="0"/>
                  </a:rPr>
                  <a:t>75</a:t>
                </a:r>
                <a:endParaRPr lang="en-AU" sz="1641" b="1">
                  <a:solidFill>
                    <a:schemeClr val="bg1"/>
                  </a:solidFill>
                  <a:latin typeface="+mn-lt"/>
                  <a:cs typeface="Segoe UI Semibold" panose="020B0702040204020203" pitchFamily="34" charset="0"/>
                </a:endParaRPr>
              </a:p>
            </p:txBody>
          </p:sp>
        </p:grpSp>
        <p:grpSp>
          <p:nvGrpSpPr>
            <p:cNvPr id="20" name="Group 19">
              <a:extLst>
                <a:ext uri="{FF2B5EF4-FFF2-40B4-BE49-F238E27FC236}">
                  <a16:creationId xmlns:a16="http://schemas.microsoft.com/office/drawing/2014/main" id="{AA364103-7D84-EAE2-EF5C-7F51BB8CBCE6}"/>
                </a:ext>
              </a:extLst>
            </p:cNvPr>
            <p:cNvGrpSpPr/>
            <p:nvPr userDrawn="1"/>
          </p:nvGrpSpPr>
          <p:grpSpPr>
            <a:xfrm>
              <a:off x="7730556" y="4980271"/>
              <a:ext cx="1008000" cy="867593"/>
              <a:chOff x="7730556" y="4980271"/>
              <a:chExt cx="1008000" cy="867593"/>
            </a:xfrm>
          </p:grpSpPr>
          <p:sp>
            <p:nvSpPr>
              <p:cNvPr id="21" name="Rectangle 20">
                <a:extLst>
                  <a:ext uri="{FF2B5EF4-FFF2-40B4-BE49-F238E27FC236}">
                    <a16:creationId xmlns:a16="http://schemas.microsoft.com/office/drawing/2014/main" id="{E423F543-90B7-DD91-6DE1-45CE6F9D28CD}"/>
                  </a:ext>
                </a:extLst>
              </p:cNvPr>
              <p:cNvSpPr/>
              <p:nvPr userDrawn="1"/>
            </p:nvSpPr>
            <p:spPr>
              <a:xfrm>
                <a:off x="7730556" y="5592271"/>
                <a:ext cx="1008000" cy="255593"/>
              </a:xfrm>
              <a:prstGeom prst="rect">
                <a:avLst/>
              </a:prstGeom>
            </p:spPr>
            <p:txBody>
              <a:bodyPr wrap="square">
                <a:spAutoFit/>
              </a:bodyPr>
              <a:lstStyle/>
              <a:p>
                <a:pPr lvl="0" algn="ctr" rtl="0"/>
                <a:r>
                  <a:rPr lang="en-AU" sz="1231" b="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22" name="Freeform 70">
                <a:extLst>
                  <a:ext uri="{FF2B5EF4-FFF2-40B4-BE49-F238E27FC236}">
                    <a16:creationId xmlns:a16="http://schemas.microsoft.com/office/drawing/2014/main" id="{50F60451-26B8-CB6A-563A-09343592C1D8}"/>
                  </a:ext>
                </a:extLst>
              </p:cNvPr>
              <p:cNvSpPr>
                <a:spLocks noEditPoints="1"/>
              </p:cNvSpPr>
              <p:nvPr userDrawn="1"/>
            </p:nvSpPr>
            <p:spPr bwMode="auto">
              <a:xfrm>
                <a:off x="7946556" y="4980271"/>
                <a:ext cx="576000" cy="576000"/>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937623" rtl="0" eaLnBrk="1" fontAlgn="auto" latinLnBrk="0" hangingPunct="1">
                  <a:lnSpc>
                    <a:spcPct val="100000"/>
                  </a:lnSpc>
                  <a:spcBef>
                    <a:spcPts val="0"/>
                  </a:spcBef>
                  <a:spcAft>
                    <a:spcPts val="0"/>
                  </a:spcAft>
                  <a:buClrTx/>
                  <a:buSzTx/>
                  <a:buFontTx/>
                  <a:buNone/>
                  <a:tabLst/>
                  <a:defRPr/>
                </a:pPr>
                <a:r>
                  <a:rPr kumimoji="0" lang="en-AU" sz="1641" b="1" i="0" u="none" strike="noStrike" kern="1200" cap="none" spc="0" normalizeH="0" baseline="0" noProof="0">
                    <a:ln>
                      <a:noFill/>
                    </a:ln>
                    <a:solidFill>
                      <a:schemeClr val="bg1"/>
                    </a:solidFill>
                    <a:effectLst/>
                    <a:uLnTx/>
                    <a:uFillTx/>
                    <a:latin typeface="+mn-lt"/>
                    <a:ea typeface="+mn-ea"/>
                    <a:cs typeface="Segoe UI Semibold" panose="020B0702040204020203" pitchFamily="34" charset="0"/>
                  </a:rPr>
                  <a:t>5</a:t>
                </a:r>
              </a:p>
            </p:txBody>
          </p:sp>
        </p:grpSp>
      </p:grpSp>
    </p:spTree>
    <p:extLst>
      <p:ext uri="{BB962C8B-B14F-4D97-AF65-F5344CB8AC3E}">
        <p14:creationId xmlns:p14="http://schemas.microsoft.com/office/powerpoint/2010/main" val="21305283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bout Nous_U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A6B731-BDD1-8C2A-DD8B-695E87A14114}"/>
              </a:ext>
            </a:extLst>
          </p:cNvPr>
          <p:cNvGraphicFramePr>
            <a:graphicFrameLocks noChangeAspect="1"/>
          </p:cNvGraphicFramePr>
          <p:nvPr userDrawn="1">
            <p:custDataLst>
              <p:tags r:id="rId1"/>
            </p:custDataLst>
            <p:extLst>
              <p:ext uri="{D42A27DB-BD31-4B8C-83A1-F6EECF244321}">
                <p14:modId xmlns:p14="http://schemas.microsoft.com/office/powerpoint/2010/main" val="1612242642"/>
              </p:ext>
            </p:extLst>
          </p:nvPr>
        </p:nvGraphicFramePr>
        <p:xfrm>
          <a:off x="1713" y="1750"/>
          <a:ext cx="1715" cy="175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26A6B731-BDD1-8C2A-DD8B-695E87A14114}"/>
                          </a:ext>
                        </a:extLst>
                      </p:cNvPr>
                      <p:cNvPicPr/>
                      <p:nvPr/>
                    </p:nvPicPr>
                    <p:blipFill>
                      <a:blip r:embed="rId4"/>
                      <a:stretch>
                        <a:fillRect/>
                      </a:stretch>
                    </p:blipFill>
                    <p:spPr>
                      <a:xfrm>
                        <a:off x="1713" y="1750"/>
                        <a:ext cx="1715" cy="1751"/>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6CAAC524-5837-4958-AB82-26A49A49C87C}"/>
              </a:ext>
            </a:extLst>
          </p:cNvPr>
          <p:cNvSpPr/>
          <p:nvPr userDrawn="1"/>
        </p:nvSpPr>
        <p:spPr>
          <a:xfrm>
            <a:off x="1" y="5073548"/>
            <a:ext cx="10691814" cy="18125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846"/>
          </a:p>
        </p:txBody>
      </p:sp>
      <p:pic>
        <p:nvPicPr>
          <p:cNvPr id="22" name="Picture 21">
            <a:extLst>
              <a:ext uri="{FF2B5EF4-FFF2-40B4-BE49-F238E27FC236}">
                <a16:creationId xmlns:a16="http://schemas.microsoft.com/office/drawing/2014/main" id="{80568D2E-8D24-AB7B-A48E-9DDF39E144A4}"/>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10696993" cy="120927"/>
          </a:xfrm>
          <a:prstGeom prst="rect">
            <a:avLst/>
          </a:prstGeom>
        </p:spPr>
      </p:pic>
      <p:cxnSp>
        <p:nvCxnSpPr>
          <p:cNvPr id="23" name="Straight Connector 22">
            <a:extLst>
              <a:ext uri="{FF2B5EF4-FFF2-40B4-BE49-F238E27FC236}">
                <a16:creationId xmlns:a16="http://schemas.microsoft.com/office/drawing/2014/main" id="{9C2AFEB1-AEBF-AD56-0A41-6969BA413471}"/>
              </a:ext>
            </a:extLst>
          </p:cNvPr>
          <p:cNvCxnSpPr>
            <a:cxnSpLocks/>
          </p:cNvCxnSpPr>
          <p:nvPr userDrawn="1"/>
        </p:nvCxnSpPr>
        <p:spPr>
          <a:xfrm>
            <a:off x="1653308" y="3339901"/>
            <a:ext cx="7382596" cy="0"/>
          </a:xfrm>
          <a:prstGeom prst="line">
            <a:avLst/>
          </a:prstGeom>
          <a:ln w="12700"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A97ACC1B-529C-88D5-76AF-25FBC2CE9E8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3927961" y="1636706"/>
            <a:ext cx="2833292" cy="1221517"/>
          </a:xfrm>
          <a:prstGeom prst="rect">
            <a:avLst/>
          </a:prstGeom>
        </p:spPr>
      </p:pic>
      <p:sp>
        <p:nvSpPr>
          <p:cNvPr id="3" name="Rectangle 2">
            <a:extLst>
              <a:ext uri="{FF2B5EF4-FFF2-40B4-BE49-F238E27FC236}">
                <a16:creationId xmlns:a16="http://schemas.microsoft.com/office/drawing/2014/main" id="{6016015B-F2FA-1345-E594-AE30FC9BB706}"/>
              </a:ext>
            </a:extLst>
          </p:cNvPr>
          <p:cNvSpPr/>
          <p:nvPr userDrawn="1"/>
        </p:nvSpPr>
        <p:spPr>
          <a:xfrm>
            <a:off x="1260057" y="3572426"/>
            <a:ext cx="8171704" cy="539763"/>
          </a:xfrm>
          <a:prstGeom prst="rect">
            <a:avLst/>
          </a:prstGeom>
        </p:spPr>
        <p:txBody>
          <a:bodyPr wrap="square">
            <a:spAutoFit/>
          </a:bodyPr>
          <a:lstStyle/>
          <a:p>
            <a:pPr algn="ctr" rtl="0">
              <a:lnSpc>
                <a:spcPct val="105000"/>
              </a:lnSpc>
            </a:pPr>
            <a:r>
              <a:rPr lang="en-AU" sz="1435" noProof="0">
                <a:solidFill>
                  <a:schemeClr val="bg2"/>
                </a:solidFill>
                <a:latin typeface="+mj-lt"/>
                <a:cs typeface="Segoe UI Semilight" panose="020B0402040204020203" pitchFamily="34" charset="0"/>
              </a:rPr>
              <a:t>Nous Group </a:t>
            </a:r>
            <a:r>
              <a:rPr lang="en-AU" sz="1435" noProof="0">
                <a:solidFill>
                  <a:schemeClr val="bg2"/>
                </a:solidFill>
                <a:latin typeface="Segoe UI Semilight" panose="020B0402040204020203" pitchFamily="34" charset="0"/>
                <a:cs typeface="Segoe UI Semilight" panose="020B0402040204020203" pitchFamily="34" charset="0"/>
              </a:rPr>
              <a:t>is an international management consultancy operating across</a:t>
            </a:r>
            <a:br>
              <a:rPr lang="en-AU" sz="1435" noProof="0">
                <a:solidFill>
                  <a:schemeClr val="bg2"/>
                </a:solidFill>
                <a:latin typeface="Segoe UI Semilight" panose="020B0402040204020203" pitchFamily="34" charset="0"/>
                <a:cs typeface="Segoe UI Semilight" panose="020B0402040204020203" pitchFamily="34" charset="0"/>
              </a:rPr>
            </a:br>
            <a:r>
              <a:rPr lang="en-AU" sz="1435" noProof="0">
                <a:solidFill>
                  <a:schemeClr val="bg2"/>
                </a:solidFill>
                <a:latin typeface="Segoe UI Semilight" panose="020B0402040204020203" pitchFamily="34" charset="0"/>
                <a:cs typeface="Segoe UI Semilight" panose="020B0402040204020203" pitchFamily="34" charset="0"/>
              </a:rPr>
              <a:t>the United Kingdom, Ireland, Canada, Australia and New Zealand. </a:t>
            </a:r>
          </a:p>
        </p:txBody>
      </p:sp>
      <p:grpSp>
        <p:nvGrpSpPr>
          <p:cNvPr id="4" name="Group 3">
            <a:extLst>
              <a:ext uri="{FF2B5EF4-FFF2-40B4-BE49-F238E27FC236}">
                <a16:creationId xmlns:a16="http://schemas.microsoft.com/office/drawing/2014/main" id="{87B7C984-30F9-D148-CF11-37D0E7671B49}"/>
              </a:ext>
            </a:extLst>
          </p:cNvPr>
          <p:cNvGrpSpPr/>
          <p:nvPr userDrawn="1"/>
        </p:nvGrpSpPr>
        <p:grpSpPr>
          <a:xfrm>
            <a:off x="6674242" y="5489829"/>
            <a:ext cx="2507477" cy="956361"/>
            <a:chOff x="6415369" y="5004000"/>
            <a:chExt cx="2323187" cy="867593"/>
          </a:xfrm>
        </p:grpSpPr>
        <p:sp>
          <p:nvSpPr>
            <p:cNvPr id="5" name="Rectangle 4">
              <a:extLst>
                <a:ext uri="{FF2B5EF4-FFF2-40B4-BE49-F238E27FC236}">
                  <a16:creationId xmlns:a16="http://schemas.microsoft.com/office/drawing/2014/main" id="{9330895B-E616-83B5-F5DC-08E7C401D3F3}"/>
                </a:ext>
              </a:extLst>
            </p:cNvPr>
            <p:cNvSpPr/>
            <p:nvPr userDrawn="1"/>
          </p:nvSpPr>
          <p:spPr>
            <a:xfrm>
              <a:off x="6415369" y="5616000"/>
              <a:ext cx="1007999" cy="255593"/>
            </a:xfrm>
            <a:prstGeom prst="rect">
              <a:avLst/>
            </a:prstGeom>
          </p:spPr>
          <p:txBody>
            <a:bodyPr wrap="square">
              <a:spAutoFit/>
            </a:bodyPr>
            <a:lstStyle/>
            <a:p>
              <a:pPr lvl="0" algn="ctr" rtl="0"/>
              <a:r>
                <a:rPr lang="en-AU" sz="1231" b="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6" name="Freeform 70">
              <a:extLst>
                <a:ext uri="{FF2B5EF4-FFF2-40B4-BE49-F238E27FC236}">
                  <a16:creationId xmlns:a16="http://schemas.microsoft.com/office/drawing/2014/main" id="{07B232C0-FB71-0CBD-EF29-DE27F955B7EB}"/>
                </a:ext>
              </a:extLst>
            </p:cNvPr>
            <p:cNvSpPr>
              <a:spLocks noEditPoints="1"/>
            </p:cNvSpPr>
            <p:nvPr userDrawn="1"/>
          </p:nvSpPr>
          <p:spPr bwMode="auto">
            <a:xfrm>
              <a:off x="6631369" y="5004000"/>
              <a:ext cx="576000" cy="576000"/>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rtl="0"/>
              <a:r>
                <a:rPr kumimoji="0" lang="en-AU" sz="1641" b="1" i="0" u="none" strike="noStrike" kern="1200" cap="none" spc="0" normalizeH="0" baseline="0" noProof="0">
                  <a:ln>
                    <a:noFill/>
                  </a:ln>
                  <a:solidFill>
                    <a:schemeClr val="bg1"/>
                  </a:solidFill>
                  <a:effectLst/>
                  <a:uLnTx/>
                  <a:uFillTx/>
                  <a:latin typeface="+mn-lt"/>
                  <a:ea typeface="+mn-ea"/>
                  <a:cs typeface="Segoe UI Semibold" panose="020B0702040204020203" pitchFamily="34" charset="0"/>
                </a:rPr>
                <a:t>750</a:t>
              </a:r>
              <a:endParaRPr lang="en-AU" sz="1641" b="1">
                <a:solidFill>
                  <a:schemeClr val="bg1"/>
                </a:solidFill>
                <a:latin typeface="+mn-lt"/>
                <a:cs typeface="Segoe UI Semibold" panose="020B0702040204020203" pitchFamily="34" charset="0"/>
              </a:endParaRPr>
            </a:p>
          </p:txBody>
        </p:sp>
        <p:sp>
          <p:nvSpPr>
            <p:cNvPr id="7" name="Rectangle 6">
              <a:extLst>
                <a:ext uri="{FF2B5EF4-FFF2-40B4-BE49-F238E27FC236}">
                  <a16:creationId xmlns:a16="http://schemas.microsoft.com/office/drawing/2014/main" id="{0524188A-1E71-AAA4-ADC9-034FBD111763}"/>
                </a:ext>
              </a:extLst>
            </p:cNvPr>
            <p:cNvSpPr/>
            <p:nvPr userDrawn="1"/>
          </p:nvSpPr>
          <p:spPr>
            <a:xfrm>
              <a:off x="7730557" y="5616000"/>
              <a:ext cx="1007999" cy="255593"/>
            </a:xfrm>
            <a:prstGeom prst="rect">
              <a:avLst/>
            </a:prstGeom>
          </p:spPr>
          <p:txBody>
            <a:bodyPr wrap="square">
              <a:spAutoFit/>
            </a:bodyPr>
            <a:lstStyle/>
            <a:p>
              <a:pPr lvl="0" algn="ctr" rtl="0"/>
              <a:r>
                <a:rPr lang="en-AU" sz="1231" b="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8" name="Freeform 70">
              <a:extLst>
                <a:ext uri="{FF2B5EF4-FFF2-40B4-BE49-F238E27FC236}">
                  <a16:creationId xmlns:a16="http://schemas.microsoft.com/office/drawing/2014/main" id="{FBF70A41-0E08-E73B-8D4F-AEA856402B16}"/>
                </a:ext>
              </a:extLst>
            </p:cNvPr>
            <p:cNvSpPr>
              <a:spLocks noEditPoints="1"/>
            </p:cNvSpPr>
            <p:nvPr userDrawn="1"/>
          </p:nvSpPr>
          <p:spPr bwMode="auto">
            <a:xfrm>
              <a:off x="7946556" y="5004000"/>
              <a:ext cx="576000" cy="576000"/>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937623" rtl="0" eaLnBrk="1" fontAlgn="auto" latinLnBrk="0" hangingPunct="1">
                <a:lnSpc>
                  <a:spcPct val="100000"/>
                </a:lnSpc>
                <a:spcBef>
                  <a:spcPts val="0"/>
                </a:spcBef>
                <a:spcAft>
                  <a:spcPts val="0"/>
                </a:spcAft>
                <a:buClrTx/>
                <a:buSzTx/>
                <a:buFontTx/>
                <a:buNone/>
                <a:tabLst/>
                <a:defRPr/>
              </a:pPr>
              <a:r>
                <a:rPr kumimoji="0" lang="en-AU" sz="1641" b="1" i="0" u="none" strike="noStrike" kern="1200" cap="none" spc="0" normalizeH="0" baseline="0" noProof="0">
                  <a:ln>
                    <a:noFill/>
                  </a:ln>
                  <a:solidFill>
                    <a:schemeClr val="bg1"/>
                  </a:solidFill>
                  <a:effectLst/>
                  <a:uLnTx/>
                  <a:uFillTx/>
                  <a:latin typeface="+mn-lt"/>
                  <a:ea typeface="+mn-ea"/>
                  <a:cs typeface="Segoe UI Semibold" panose="020B0702040204020203" pitchFamily="34" charset="0"/>
                </a:rPr>
                <a:t>5</a:t>
              </a:r>
            </a:p>
          </p:txBody>
        </p:sp>
      </p:grpSp>
      <p:sp>
        <p:nvSpPr>
          <p:cNvPr id="9" name="Rectangle 8">
            <a:extLst>
              <a:ext uri="{FF2B5EF4-FFF2-40B4-BE49-F238E27FC236}">
                <a16:creationId xmlns:a16="http://schemas.microsoft.com/office/drawing/2014/main" id="{ACCD7266-693A-1240-AB32-06B3E0338AE9}"/>
              </a:ext>
            </a:extLst>
          </p:cNvPr>
          <p:cNvSpPr/>
          <p:nvPr userDrawn="1"/>
        </p:nvSpPr>
        <p:spPr>
          <a:xfrm>
            <a:off x="1653231" y="5568777"/>
            <a:ext cx="4503716" cy="801092"/>
          </a:xfrm>
          <a:prstGeom prst="rect">
            <a:avLst/>
          </a:prstGeom>
        </p:spPr>
        <p:txBody>
          <a:bodyPr wrap="square" lIns="0" anchor="ctr" anchorCtr="0">
            <a:spAutoFit/>
          </a:bodyPr>
          <a:lstStyle/>
          <a:p>
            <a:pPr rtl="0"/>
            <a:r>
              <a:rPr lang="en-AU" sz="1127">
                <a:solidFill>
                  <a:schemeClr val="bg1"/>
                </a:solidFill>
                <a:latin typeface="Segoe UI Semibold" panose="020B0702040204020203" pitchFamily="34" charset="0"/>
                <a:cs typeface="Segoe UI Semilight" panose="020B0402040204020203" pitchFamily="34" charset="0"/>
              </a:rPr>
              <a:t>We are inspired and determined to improve people’s lives in significant ways. When our strengths complement yours and we think big together, we can transform businesses, governments, and communities. We realise a bigger idea of success.</a:t>
            </a:r>
          </a:p>
        </p:txBody>
      </p:sp>
    </p:spTree>
    <p:extLst>
      <p:ext uri="{BB962C8B-B14F-4D97-AF65-F5344CB8AC3E}">
        <p14:creationId xmlns:p14="http://schemas.microsoft.com/office/powerpoint/2010/main" val="11598663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photo - option 1">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0F5BF87-ADE7-49A3-A512-5AAB35388F25}"/>
              </a:ext>
            </a:extLst>
          </p:cNvPr>
          <p:cNvSpPr>
            <a:spLocks noGrp="1"/>
          </p:cNvSpPr>
          <p:nvPr>
            <p:ph type="pic" sz="quarter" idx="12"/>
          </p:nvPr>
        </p:nvSpPr>
        <p:spPr>
          <a:xfrm>
            <a:off x="3" y="119050"/>
            <a:ext cx="10691813" cy="6349333"/>
          </a:xfrm>
        </p:spPr>
        <p:txBody>
          <a:bodyPr/>
          <a:lstStyle>
            <a:lvl1pPr rtl="0">
              <a:defRPr/>
            </a:lvl1pPr>
          </a:lstStyle>
          <a:p>
            <a:r>
              <a:rPr lang="en-US" noProof="0"/>
              <a:t>Click icon to add picture</a:t>
            </a:r>
            <a:endParaRPr lang="en-AU" noProof="0"/>
          </a:p>
        </p:txBody>
      </p:sp>
      <p:pic>
        <p:nvPicPr>
          <p:cNvPr id="11" name="Picture 10">
            <a:extLst>
              <a:ext uri="{FF2B5EF4-FFF2-40B4-BE49-F238E27FC236}">
                <a16:creationId xmlns:a16="http://schemas.microsoft.com/office/drawing/2014/main" id="{3A1B2A24-E941-4530-9CE5-E42D4C6ADD97}"/>
              </a:ext>
            </a:extLst>
          </p:cNvPr>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1823069"/>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715" y="1751"/>
                        <a:ext cx="1713" cy="1749"/>
                      </a:xfrm>
                      <a:prstGeom prst="rect">
                        <a:avLst/>
                      </a:prstGeom>
                    </p:spPr>
                  </p:pic>
                </p:oleObj>
              </mc:Fallback>
            </mc:AlternateContent>
          </a:graphicData>
        </a:graphic>
      </p:graphicFrame>
      <p:pic>
        <p:nvPicPr>
          <p:cNvPr id="9" name="Picture 8" descr="A picture containing drawing&#10;&#10;Description automatically generated">
            <a:extLst>
              <a:ext uri="{FF2B5EF4-FFF2-40B4-BE49-F238E27FC236}">
                <a16:creationId xmlns:a16="http://schemas.microsoft.com/office/drawing/2014/main" id="{4E5F4078-34D5-4506-9BA6-DB400F8198C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64296" y="7032562"/>
            <a:ext cx="717097" cy="209737"/>
          </a:xfrm>
          <a:prstGeom prst="rect">
            <a:avLst/>
          </a:prstGeom>
        </p:spPr>
      </p:pic>
      <p:sp>
        <p:nvSpPr>
          <p:cNvPr id="12" name="Text Placeholder 14">
            <a:extLst>
              <a:ext uri="{FF2B5EF4-FFF2-40B4-BE49-F238E27FC236}">
                <a16:creationId xmlns:a16="http://schemas.microsoft.com/office/drawing/2014/main" id="{89E527F3-863D-424E-9D3F-4957F08AB03F}"/>
              </a:ext>
            </a:extLst>
          </p:cNvPr>
          <p:cNvSpPr>
            <a:spLocks noGrp="1"/>
          </p:cNvSpPr>
          <p:nvPr>
            <p:ph type="body" sz="quarter" idx="13" hasCustomPrompt="1"/>
          </p:nvPr>
        </p:nvSpPr>
        <p:spPr>
          <a:xfrm>
            <a:off x="582837" y="5180951"/>
            <a:ext cx="7188317" cy="678266"/>
          </a:xfrm>
          <a:solidFill>
            <a:schemeClr val="bg2">
              <a:alpha val="90000"/>
            </a:schemeClr>
          </a:solidFill>
        </p:spPr>
        <p:txBody>
          <a:bodyPr wrap="square" lIns="216000" tIns="108000" rIns="216000" bIns="126000" anchor="b" anchorCtr="0">
            <a:spAutoFit/>
          </a:bodyPr>
          <a:lstStyle>
            <a:lvl1pPr rtl="0">
              <a:lnSpc>
                <a:spcPct val="100000"/>
              </a:lnSpc>
              <a:defRPr sz="2872">
                <a:solidFill>
                  <a:schemeClr val="bg1"/>
                </a:solidFill>
                <a:latin typeface="Segoe UI Semibold" panose="020B0702040204020203" pitchFamily="34" charset="0"/>
                <a:cs typeface="Segoe UI Semibold" panose="020B0702040204020203" pitchFamily="34" charset="0"/>
              </a:defRPr>
            </a:lvl1pPr>
          </a:lstStyle>
          <a:p>
            <a:pPr lvl="0"/>
            <a:r>
              <a:rPr lang="en-AU" noProof="0"/>
              <a:t>Short section title</a:t>
            </a:r>
          </a:p>
        </p:txBody>
      </p:sp>
    </p:spTree>
    <p:extLst>
      <p:ext uri="{BB962C8B-B14F-4D97-AF65-F5344CB8AC3E}">
        <p14:creationId xmlns:p14="http://schemas.microsoft.com/office/powerpoint/2010/main" val="641627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photo - option 2">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0F5BF87-ADE7-49A3-A512-5AAB35388F25}"/>
              </a:ext>
            </a:extLst>
          </p:cNvPr>
          <p:cNvSpPr>
            <a:spLocks noGrp="1"/>
          </p:cNvSpPr>
          <p:nvPr>
            <p:ph type="pic" sz="quarter" idx="12"/>
          </p:nvPr>
        </p:nvSpPr>
        <p:spPr>
          <a:xfrm>
            <a:off x="3" y="119050"/>
            <a:ext cx="10691813" cy="6349333"/>
          </a:xfrm>
        </p:spPr>
        <p:txBody>
          <a:bodyPr/>
          <a:lstStyle>
            <a:lvl1pPr rtl="0">
              <a:defRPr/>
            </a:lvl1pPr>
          </a:lstStyle>
          <a:p>
            <a:r>
              <a:rPr lang="en-US" noProof="0"/>
              <a:t>Click icon to add picture</a:t>
            </a:r>
            <a:endParaRPr lang="en-AU" noProof="0"/>
          </a:p>
        </p:txBody>
      </p:sp>
      <p:pic>
        <p:nvPicPr>
          <p:cNvPr id="11" name="Picture 10">
            <a:extLst>
              <a:ext uri="{FF2B5EF4-FFF2-40B4-BE49-F238E27FC236}">
                <a16:creationId xmlns:a16="http://schemas.microsoft.com/office/drawing/2014/main" id="{3A1B2A24-E941-4530-9CE5-E42D4C6ADD97}"/>
              </a:ext>
            </a:extLst>
          </p:cNvPr>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80987630"/>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715" y="1751"/>
                        <a:ext cx="1713" cy="1749"/>
                      </a:xfrm>
                      <a:prstGeom prst="rect">
                        <a:avLst/>
                      </a:prstGeom>
                    </p:spPr>
                  </p:pic>
                </p:oleObj>
              </mc:Fallback>
            </mc:AlternateContent>
          </a:graphicData>
        </a:graphic>
      </p:graphicFrame>
      <p:pic>
        <p:nvPicPr>
          <p:cNvPr id="9" name="Picture 8" descr="A picture containing drawing&#10;&#10;Description automatically generated">
            <a:extLst>
              <a:ext uri="{FF2B5EF4-FFF2-40B4-BE49-F238E27FC236}">
                <a16:creationId xmlns:a16="http://schemas.microsoft.com/office/drawing/2014/main" id="{4E5F4078-34D5-4506-9BA6-DB400F8198C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64296" y="7032562"/>
            <a:ext cx="717097" cy="209737"/>
          </a:xfrm>
          <a:prstGeom prst="rect">
            <a:avLst/>
          </a:prstGeom>
        </p:spPr>
      </p:pic>
      <p:sp>
        <p:nvSpPr>
          <p:cNvPr id="12" name="Text Placeholder 14">
            <a:extLst>
              <a:ext uri="{FF2B5EF4-FFF2-40B4-BE49-F238E27FC236}">
                <a16:creationId xmlns:a16="http://schemas.microsoft.com/office/drawing/2014/main" id="{89E527F3-863D-424E-9D3F-4957F08AB03F}"/>
              </a:ext>
            </a:extLst>
          </p:cNvPr>
          <p:cNvSpPr>
            <a:spLocks noGrp="1"/>
          </p:cNvSpPr>
          <p:nvPr>
            <p:ph type="body" sz="quarter" idx="13" hasCustomPrompt="1"/>
          </p:nvPr>
        </p:nvSpPr>
        <p:spPr>
          <a:xfrm>
            <a:off x="582836" y="674617"/>
            <a:ext cx="3108462" cy="1120245"/>
          </a:xfrm>
          <a:solidFill>
            <a:schemeClr val="bg2">
              <a:alpha val="90000"/>
            </a:schemeClr>
          </a:solidFill>
        </p:spPr>
        <p:txBody>
          <a:bodyPr wrap="square" lIns="216000" tIns="108000" rIns="216000" bIns="126000" anchor="t" anchorCtr="0">
            <a:spAutoFit/>
          </a:bodyPr>
          <a:lstStyle>
            <a:lvl1pPr rtl="0">
              <a:lnSpc>
                <a:spcPct val="100000"/>
              </a:lnSpc>
              <a:defRPr sz="2872">
                <a:solidFill>
                  <a:schemeClr val="bg1"/>
                </a:solidFill>
                <a:latin typeface="Segoe UI Semibold" panose="020B0702040204020203" pitchFamily="34" charset="0"/>
                <a:cs typeface="Segoe UI Semibold" panose="020B0702040204020203" pitchFamily="34" charset="0"/>
              </a:defRPr>
            </a:lvl1pPr>
          </a:lstStyle>
          <a:p>
            <a:pPr lvl="0"/>
            <a:r>
              <a:rPr lang="en-AU" noProof="0"/>
              <a:t>Longer section</a:t>
            </a:r>
            <a:br>
              <a:rPr lang="en-AU" noProof="0"/>
            </a:br>
            <a:r>
              <a:rPr lang="en-AU" noProof="0"/>
              <a:t>title</a:t>
            </a:r>
          </a:p>
        </p:txBody>
      </p:sp>
    </p:spTree>
    <p:extLst>
      <p:ext uri="{BB962C8B-B14F-4D97-AF65-F5344CB8AC3E}">
        <p14:creationId xmlns:p14="http://schemas.microsoft.com/office/powerpoint/2010/main" val="29468383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s grey">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F514AF4-F176-498B-9FB8-AA494C0597A2}"/>
              </a:ext>
            </a:extLst>
          </p:cNvPr>
          <p:cNvSpPr/>
          <p:nvPr userDrawn="1"/>
        </p:nvSpPr>
        <p:spPr>
          <a:xfrm>
            <a:off x="2" y="1193633"/>
            <a:ext cx="10693108" cy="57669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sz="1846" noProof="0"/>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61566803"/>
              </p:ext>
            </p:extLst>
          </p:nvPr>
        </p:nvGraphicFramePr>
        <p:xfrm>
          <a:off x="1715" y="1751"/>
          <a:ext cx="1713" cy="174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15" y="1751"/>
                        <a:ext cx="1713" cy="1749"/>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0" y="1"/>
            <a:ext cx="10691101" cy="120927"/>
          </a:xfrm>
          <a:prstGeom prst="rect">
            <a:avLst/>
          </a:prstGeom>
        </p:spPr>
      </p:pic>
      <p:sp>
        <p:nvSpPr>
          <p:cNvPr id="3" name="Title 1">
            <a:extLst>
              <a:ext uri="{FF2B5EF4-FFF2-40B4-BE49-F238E27FC236}">
                <a16:creationId xmlns:a16="http://schemas.microsoft.com/office/drawing/2014/main" id="{FE3EF5B6-61BF-A081-1AD4-D2AB48268962}"/>
              </a:ext>
            </a:extLst>
          </p:cNvPr>
          <p:cNvSpPr>
            <a:spLocks noGrp="1"/>
          </p:cNvSpPr>
          <p:nvPr>
            <p:ph type="title" hasCustomPrompt="1"/>
          </p:nvPr>
        </p:nvSpPr>
        <p:spPr>
          <a:xfrm>
            <a:off x="582836" y="436518"/>
            <a:ext cx="9519664" cy="376371"/>
          </a:xfrm>
        </p:spPr>
        <p:txBody>
          <a:bodyPr vert="horz">
            <a:spAutoFit/>
          </a:bodyPr>
          <a:lstStyle>
            <a:lvl1pPr rtl="0">
              <a:lnSpc>
                <a:spcPct val="100000"/>
              </a:lnSpc>
              <a:defRPr sz="1846"/>
            </a:lvl1pPr>
          </a:lstStyle>
          <a:p>
            <a:r>
              <a:rPr lang="en-AU" noProof="0"/>
              <a:t>Contents</a:t>
            </a:r>
          </a:p>
        </p:txBody>
      </p:sp>
      <p:sp>
        <p:nvSpPr>
          <p:cNvPr id="6" name="Text Placeholder 2">
            <a:extLst>
              <a:ext uri="{FF2B5EF4-FFF2-40B4-BE49-F238E27FC236}">
                <a16:creationId xmlns:a16="http://schemas.microsoft.com/office/drawing/2014/main" id="{8CF88BC9-9570-7213-20C7-3DADD10206D7}"/>
              </a:ext>
            </a:extLst>
          </p:cNvPr>
          <p:cNvSpPr>
            <a:spLocks noGrp="1"/>
          </p:cNvSpPr>
          <p:nvPr>
            <p:ph type="body" sz="quarter" idx="10" hasCustomPrompt="1"/>
          </p:nvPr>
        </p:nvSpPr>
        <p:spPr>
          <a:xfrm>
            <a:off x="582838" y="1664713"/>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2"/>
                </a:solidFill>
              </a:defRPr>
            </a:lvl1pPr>
          </a:lstStyle>
          <a:p>
            <a:pPr lvl="0"/>
            <a:r>
              <a:rPr lang="en-AU"/>
              <a:t>#</a:t>
            </a:r>
          </a:p>
        </p:txBody>
      </p:sp>
      <p:sp>
        <p:nvSpPr>
          <p:cNvPr id="8" name="Text Placeholder 13">
            <a:extLst>
              <a:ext uri="{FF2B5EF4-FFF2-40B4-BE49-F238E27FC236}">
                <a16:creationId xmlns:a16="http://schemas.microsoft.com/office/drawing/2014/main" id="{79440D79-7F9B-4641-C87F-391C62EDCB66}"/>
              </a:ext>
            </a:extLst>
          </p:cNvPr>
          <p:cNvSpPr>
            <a:spLocks noGrp="1"/>
          </p:cNvSpPr>
          <p:nvPr>
            <p:ph type="body" sz="quarter" idx="16" hasCustomPrompt="1"/>
          </p:nvPr>
        </p:nvSpPr>
        <p:spPr>
          <a:xfrm>
            <a:off x="1321097" y="1759802"/>
            <a:ext cx="8781404" cy="305048"/>
          </a:xfrm>
          <a:prstGeom prst="rect">
            <a:avLst/>
          </a:prstGeom>
          <a:noFill/>
        </p:spPr>
        <p:txBody>
          <a:bodyPr/>
          <a:lstStyle>
            <a:lvl1pPr rtl="0">
              <a:defRPr sz="1435">
                <a:solidFill>
                  <a:schemeClr val="bg2"/>
                </a:solidFill>
                <a:latin typeface="+mj-lt"/>
              </a:defRPr>
            </a:lvl1pPr>
          </a:lstStyle>
          <a:p>
            <a:pPr lvl="0"/>
            <a:r>
              <a:rPr lang="en-AU"/>
              <a:t>Title</a:t>
            </a:r>
          </a:p>
        </p:txBody>
      </p:sp>
      <p:sp>
        <p:nvSpPr>
          <p:cNvPr id="9" name="Text Placeholder 2">
            <a:extLst>
              <a:ext uri="{FF2B5EF4-FFF2-40B4-BE49-F238E27FC236}">
                <a16:creationId xmlns:a16="http://schemas.microsoft.com/office/drawing/2014/main" id="{ABB2B6DF-9A8F-72F5-89F8-451D68B73917}"/>
              </a:ext>
            </a:extLst>
          </p:cNvPr>
          <p:cNvSpPr>
            <a:spLocks noGrp="1"/>
          </p:cNvSpPr>
          <p:nvPr>
            <p:ph type="body" sz="quarter" idx="17" hasCustomPrompt="1"/>
          </p:nvPr>
        </p:nvSpPr>
        <p:spPr>
          <a:xfrm>
            <a:off x="582838" y="2364930"/>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2"/>
                </a:solidFill>
              </a:defRPr>
            </a:lvl1pPr>
          </a:lstStyle>
          <a:p>
            <a:pPr lvl="0"/>
            <a:r>
              <a:rPr lang="en-AU"/>
              <a:t>#</a:t>
            </a:r>
          </a:p>
        </p:txBody>
      </p:sp>
      <p:sp>
        <p:nvSpPr>
          <p:cNvPr id="10" name="Text Placeholder 13">
            <a:extLst>
              <a:ext uri="{FF2B5EF4-FFF2-40B4-BE49-F238E27FC236}">
                <a16:creationId xmlns:a16="http://schemas.microsoft.com/office/drawing/2014/main" id="{7C1624D3-82AC-FE1E-4D21-9A9ACEDEC625}"/>
              </a:ext>
            </a:extLst>
          </p:cNvPr>
          <p:cNvSpPr>
            <a:spLocks noGrp="1"/>
          </p:cNvSpPr>
          <p:nvPr>
            <p:ph type="body" sz="quarter" idx="18" hasCustomPrompt="1"/>
          </p:nvPr>
        </p:nvSpPr>
        <p:spPr>
          <a:xfrm>
            <a:off x="1321097" y="2460019"/>
            <a:ext cx="8781404" cy="305048"/>
          </a:xfrm>
          <a:prstGeom prst="rect">
            <a:avLst/>
          </a:prstGeom>
          <a:noFill/>
        </p:spPr>
        <p:txBody>
          <a:bodyPr/>
          <a:lstStyle>
            <a:lvl1pPr rtl="0">
              <a:defRPr sz="1435">
                <a:solidFill>
                  <a:schemeClr val="bg2"/>
                </a:solidFill>
                <a:latin typeface="+mj-lt"/>
              </a:defRPr>
            </a:lvl1pPr>
          </a:lstStyle>
          <a:p>
            <a:pPr lvl="0"/>
            <a:r>
              <a:rPr lang="en-AU"/>
              <a:t>Title</a:t>
            </a:r>
          </a:p>
        </p:txBody>
      </p:sp>
      <p:sp>
        <p:nvSpPr>
          <p:cNvPr id="11" name="Text Placeholder 2">
            <a:extLst>
              <a:ext uri="{FF2B5EF4-FFF2-40B4-BE49-F238E27FC236}">
                <a16:creationId xmlns:a16="http://schemas.microsoft.com/office/drawing/2014/main" id="{A7C758BE-9A9A-5D64-24A5-DC67B5051DFD}"/>
              </a:ext>
            </a:extLst>
          </p:cNvPr>
          <p:cNvSpPr>
            <a:spLocks noGrp="1"/>
          </p:cNvSpPr>
          <p:nvPr>
            <p:ph type="body" sz="quarter" idx="19" hasCustomPrompt="1"/>
          </p:nvPr>
        </p:nvSpPr>
        <p:spPr>
          <a:xfrm>
            <a:off x="582838" y="3065147"/>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2"/>
                </a:solidFill>
              </a:defRPr>
            </a:lvl1pPr>
          </a:lstStyle>
          <a:p>
            <a:pPr lvl="0"/>
            <a:r>
              <a:rPr lang="en-AU"/>
              <a:t>#</a:t>
            </a:r>
          </a:p>
        </p:txBody>
      </p:sp>
      <p:sp>
        <p:nvSpPr>
          <p:cNvPr id="13" name="Text Placeholder 13">
            <a:extLst>
              <a:ext uri="{FF2B5EF4-FFF2-40B4-BE49-F238E27FC236}">
                <a16:creationId xmlns:a16="http://schemas.microsoft.com/office/drawing/2014/main" id="{9867057F-0267-5443-43E6-2A93A58FCEAD}"/>
              </a:ext>
            </a:extLst>
          </p:cNvPr>
          <p:cNvSpPr>
            <a:spLocks noGrp="1"/>
          </p:cNvSpPr>
          <p:nvPr>
            <p:ph type="body" sz="quarter" idx="20" hasCustomPrompt="1"/>
          </p:nvPr>
        </p:nvSpPr>
        <p:spPr>
          <a:xfrm>
            <a:off x="1321097" y="3160236"/>
            <a:ext cx="8781404" cy="305048"/>
          </a:xfrm>
          <a:prstGeom prst="rect">
            <a:avLst/>
          </a:prstGeom>
          <a:noFill/>
        </p:spPr>
        <p:txBody>
          <a:bodyPr/>
          <a:lstStyle>
            <a:lvl1pPr rtl="0">
              <a:defRPr sz="1435">
                <a:solidFill>
                  <a:schemeClr val="bg2"/>
                </a:solidFill>
                <a:latin typeface="+mj-lt"/>
              </a:defRPr>
            </a:lvl1pPr>
          </a:lstStyle>
          <a:p>
            <a:pPr lvl="0"/>
            <a:r>
              <a:rPr lang="en-AU"/>
              <a:t>Title</a:t>
            </a:r>
          </a:p>
        </p:txBody>
      </p:sp>
      <p:sp>
        <p:nvSpPr>
          <p:cNvPr id="14" name="Text Placeholder 2">
            <a:extLst>
              <a:ext uri="{FF2B5EF4-FFF2-40B4-BE49-F238E27FC236}">
                <a16:creationId xmlns:a16="http://schemas.microsoft.com/office/drawing/2014/main" id="{674986B2-702E-E700-B05F-FD0BEFBEAAC9}"/>
              </a:ext>
            </a:extLst>
          </p:cNvPr>
          <p:cNvSpPr>
            <a:spLocks noGrp="1"/>
          </p:cNvSpPr>
          <p:nvPr>
            <p:ph type="body" sz="quarter" idx="21" hasCustomPrompt="1"/>
          </p:nvPr>
        </p:nvSpPr>
        <p:spPr>
          <a:xfrm>
            <a:off x="582838" y="3765363"/>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2"/>
                </a:solidFill>
              </a:defRPr>
            </a:lvl1pPr>
          </a:lstStyle>
          <a:p>
            <a:pPr lvl="0"/>
            <a:r>
              <a:rPr lang="en-AU"/>
              <a:t>#</a:t>
            </a:r>
          </a:p>
        </p:txBody>
      </p:sp>
      <p:sp>
        <p:nvSpPr>
          <p:cNvPr id="16" name="Text Placeholder 13">
            <a:extLst>
              <a:ext uri="{FF2B5EF4-FFF2-40B4-BE49-F238E27FC236}">
                <a16:creationId xmlns:a16="http://schemas.microsoft.com/office/drawing/2014/main" id="{43664206-859C-4A97-2602-EC1C72CE31EC}"/>
              </a:ext>
            </a:extLst>
          </p:cNvPr>
          <p:cNvSpPr>
            <a:spLocks noGrp="1"/>
          </p:cNvSpPr>
          <p:nvPr>
            <p:ph type="body" sz="quarter" idx="22" hasCustomPrompt="1"/>
          </p:nvPr>
        </p:nvSpPr>
        <p:spPr>
          <a:xfrm>
            <a:off x="1321097" y="3860453"/>
            <a:ext cx="8781404" cy="305048"/>
          </a:xfrm>
          <a:prstGeom prst="rect">
            <a:avLst/>
          </a:prstGeom>
          <a:noFill/>
        </p:spPr>
        <p:txBody>
          <a:bodyPr/>
          <a:lstStyle>
            <a:lvl1pPr rtl="0">
              <a:defRPr sz="1435">
                <a:solidFill>
                  <a:schemeClr val="bg2"/>
                </a:solidFill>
                <a:latin typeface="+mj-lt"/>
              </a:defRPr>
            </a:lvl1pPr>
          </a:lstStyle>
          <a:p>
            <a:pPr lvl="0"/>
            <a:r>
              <a:rPr lang="en-AU"/>
              <a:t>Title</a:t>
            </a:r>
          </a:p>
        </p:txBody>
      </p:sp>
      <p:sp>
        <p:nvSpPr>
          <p:cNvPr id="18" name="Text Placeholder 2">
            <a:extLst>
              <a:ext uri="{FF2B5EF4-FFF2-40B4-BE49-F238E27FC236}">
                <a16:creationId xmlns:a16="http://schemas.microsoft.com/office/drawing/2014/main" id="{F621041E-BAC6-A2DD-76BF-CAD489A35DEC}"/>
              </a:ext>
            </a:extLst>
          </p:cNvPr>
          <p:cNvSpPr>
            <a:spLocks noGrp="1"/>
          </p:cNvSpPr>
          <p:nvPr>
            <p:ph type="body" sz="quarter" idx="23" hasCustomPrompt="1"/>
          </p:nvPr>
        </p:nvSpPr>
        <p:spPr>
          <a:xfrm>
            <a:off x="582838" y="4465580"/>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2"/>
                </a:solidFill>
              </a:defRPr>
            </a:lvl1pPr>
          </a:lstStyle>
          <a:p>
            <a:pPr lvl="0"/>
            <a:r>
              <a:rPr lang="en-AU"/>
              <a:t>#</a:t>
            </a:r>
          </a:p>
        </p:txBody>
      </p:sp>
      <p:sp>
        <p:nvSpPr>
          <p:cNvPr id="20" name="Text Placeholder 13">
            <a:extLst>
              <a:ext uri="{FF2B5EF4-FFF2-40B4-BE49-F238E27FC236}">
                <a16:creationId xmlns:a16="http://schemas.microsoft.com/office/drawing/2014/main" id="{3B6B1D3F-4AE4-0533-2F87-8060A7C44F46}"/>
              </a:ext>
            </a:extLst>
          </p:cNvPr>
          <p:cNvSpPr>
            <a:spLocks noGrp="1"/>
          </p:cNvSpPr>
          <p:nvPr>
            <p:ph type="body" sz="quarter" idx="24" hasCustomPrompt="1"/>
          </p:nvPr>
        </p:nvSpPr>
        <p:spPr>
          <a:xfrm>
            <a:off x="1321097" y="4560670"/>
            <a:ext cx="8781404" cy="305048"/>
          </a:xfrm>
          <a:prstGeom prst="rect">
            <a:avLst/>
          </a:prstGeom>
          <a:noFill/>
        </p:spPr>
        <p:txBody>
          <a:bodyPr/>
          <a:lstStyle>
            <a:lvl1pPr rtl="0">
              <a:defRPr sz="1435">
                <a:solidFill>
                  <a:schemeClr val="bg2"/>
                </a:solidFill>
                <a:latin typeface="+mj-lt"/>
              </a:defRPr>
            </a:lvl1pPr>
          </a:lstStyle>
          <a:p>
            <a:pPr lvl="0"/>
            <a:r>
              <a:rPr lang="en-AU"/>
              <a:t>Title</a:t>
            </a:r>
          </a:p>
        </p:txBody>
      </p:sp>
      <p:sp>
        <p:nvSpPr>
          <p:cNvPr id="22" name="Text Placeholder 2">
            <a:extLst>
              <a:ext uri="{FF2B5EF4-FFF2-40B4-BE49-F238E27FC236}">
                <a16:creationId xmlns:a16="http://schemas.microsoft.com/office/drawing/2014/main" id="{31FFB477-335B-ED48-D3BC-396155A0E8B0}"/>
              </a:ext>
            </a:extLst>
          </p:cNvPr>
          <p:cNvSpPr>
            <a:spLocks noGrp="1"/>
          </p:cNvSpPr>
          <p:nvPr>
            <p:ph type="body" sz="quarter" idx="25" hasCustomPrompt="1"/>
          </p:nvPr>
        </p:nvSpPr>
        <p:spPr>
          <a:xfrm>
            <a:off x="582838" y="5165797"/>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2"/>
                </a:solidFill>
              </a:defRPr>
            </a:lvl1pPr>
          </a:lstStyle>
          <a:p>
            <a:pPr lvl="0"/>
            <a:r>
              <a:rPr lang="en-AU"/>
              <a:t>#</a:t>
            </a:r>
          </a:p>
        </p:txBody>
      </p:sp>
      <p:sp>
        <p:nvSpPr>
          <p:cNvPr id="23" name="Text Placeholder 13">
            <a:extLst>
              <a:ext uri="{FF2B5EF4-FFF2-40B4-BE49-F238E27FC236}">
                <a16:creationId xmlns:a16="http://schemas.microsoft.com/office/drawing/2014/main" id="{FEFF0866-0955-758E-EB6A-89DB3EF90C63}"/>
              </a:ext>
            </a:extLst>
          </p:cNvPr>
          <p:cNvSpPr>
            <a:spLocks noGrp="1"/>
          </p:cNvSpPr>
          <p:nvPr>
            <p:ph type="body" sz="quarter" idx="26" hasCustomPrompt="1"/>
          </p:nvPr>
        </p:nvSpPr>
        <p:spPr>
          <a:xfrm>
            <a:off x="1321097" y="5260887"/>
            <a:ext cx="8781404" cy="305048"/>
          </a:xfrm>
          <a:prstGeom prst="rect">
            <a:avLst/>
          </a:prstGeom>
          <a:noFill/>
        </p:spPr>
        <p:txBody>
          <a:bodyPr/>
          <a:lstStyle>
            <a:lvl1pPr rtl="0">
              <a:defRPr sz="1435">
                <a:solidFill>
                  <a:schemeClr val="bg2"/>
                </a:solidFill>
                <a:latin typeface="+mj-lt"/>
              </a:defRPr>
            </a:lvl1pPr>
          </a:lstStyle>
          <a:p>
            <a:pPr lvl="0"/>
            <a:r>
              <a:rPr lang="en-AU"/>
              <a:t>Title</a:t>
            </a:r>
          </a:p>
        </p:txBody>
      </p:sp>
      <p:sp>
        <p:nvSpPr>
          <p:cNvPr id="25" name="Text Placeholder 2">
            <a:extLst>
              <a:ext uri="{FF2B5EF4-FFF2-40B4-BE49-F238E27FC236}">
                <a16:creationId xmlns:a16="http://schemas.microsoft.com/office/drawing/2014/main" id="{A43FF3F1-F3CD-78B9-A9DF-A9847564AA21}"/>
              </a:ext>
            </a:extLst>
          </p:cNvPr>
          <p:cNvSpPr>
            <a:spLocks noGrp="1"/>
          </p:cNvSpPr>
          <p:nvPr>
            <p:ph type="body" sz="quarter" idx="27" hasCustomPrompt="1"/>
          </p:nvPr>
        </p:nvSpPr>
        <p:spPr>
          <a:xfrm>
            <a:off x="582838" y="5866016"/>
            <a:ext cx="483488" cy="495230"/>
          </a:xfrm>
          <a:prstGeom prst="ellipse">
            <a:avLst/>
          </a:prstGeom>
          <a:noFill/>
          <a:ln w="19050">
            <a:gradFill>
              <a:gsLst>
                <a:gs pos="0">
                  <a:schemeClr val="accent1"/>
                </a:gs>
                <a:gs pos="33000">
                  <a:schemeClr val="accent2"/>
                </a:gs>
                <a:gs pos="66000">
                  <a:schemeClr val="accent3"/>
                </a:gs>
                <a:gs pos="100000">
                  <a:schemeClr val="accent4"/>
                </a:gs>
              </a:gsLst>
              <a:lin ang="0" scaled="0"/>
            </a:gradFill>
          </a:ln>
        </p:spPr>
        <p:txBody>
          <a:bodyPr anchor="ctr"/>
          <a:lstStyle>
            <a:lvl1pPr algn="ctr" rtl="0">
              <a:defRPr sz="1435" b="1">
                <a:solidFill>
                  <a:schemeClr val="bg2"/>
                </a:solidFill>
              </a:defRPr>
            </a:lvl1pPr>
          </a:lstStyle>
          <a:p>
            <a:pPr lvl="0"/>
            <a:r>
              <a:rPr lang="en-AU"/>
              <a:t>#</a:t>
            </a:r>
          </a:p>
        </p:txBody>
      </p:sp>
      <p:sp>
        <p:nvSpPr>
          <p:cNvPr id="26" name="Text Placeholder 13">
            <a:extLst>
              <a:ext uri="{FF2B5EF4-FFF2-40B4-BE49-F238E27FC236}">
                <a16:creationId xmlns:a16="http://schemas.microsoft.com/office/drawing/2014/main" id="{57788868-4AF1-7E8A-F704-DE94F9CA18C2}"/>
              </a:ext>
            </a:extLst>
          </p:cNvPr>
          <p:cNvSpPr>
            <a:spLocks noGrp="1"/>
          </p:cNvSpPr>
          <p:nvPr>
            <p:ph type="body" sz="quarter" idx="28" hasCustomPrompt="1"/>
          </p:nvPr>
        </p:nvSpPr>
        <p:spPr>
          <a:xfrm>
            <a:off x="1321097" y="5961106"/>
            <a:ext cx="8781404" cy="305048"/>
          </a:xfrm>
          <a:prstGeom prst="rect">
            <a:avLst/>
          </a:prstGeom>
          <a:noFill/>
        </p:spPr>
        <p:txBody>
          <a:bodyPr/>
          <a:lstStyle>
            <a:lvl1pPr rtl="0">
              <a:defRPr sz="1435">
                <a:solidFill>
                  <a:schemeClr val="bg2"/>
                </a:solidFill>
                <a:latin typeface="+mj-lt"/>
              </a:defRPr>
            </a:lvl1pPr>
          </a:lstStyle>
          <a:p>
            <a:pPr lvl="0"/>
            <a:r>
              <a:rPr lang="en-AU"/>
              <a:t>Title</a:t>
            </a:r>
          </a:p>
        </p:txBody>
      </p:sp>
      <p:sp>
        <p:nvSpPr>
          <p:cNvPr id="27" name="TextBox 26">
            <a:extLst>
              <a:ext uri="{FF2B5EF4-FFF2-40B4-BE49-F238E27FC236}">
                <a16:creationId xmlns:a16="http://schemas.microsoft.com/office/drawing/2014/main" id="{E21472FA-75B8-40E5-0B4C-6A52F08509EB}"/>
              </a:ext>
            </a:extLst>
          </p:cNvPr>
          <p:cNvSpPr txBox="1"/>
          <p:nvPr userDrawn="1"/>
        </p:nvSpPr>
        <p:spPr>
          <a:xfrm>
            <a:off x="9908220" y="7046396"/>
            <a:ext cx="489497" cy="281744"/>
          </a:xfrm>
          <a:prstGeom prst="rect">
            <a:avLst/>
          </a:prstGeom>
          <a:noFill/>
        </p:spPr>
        <p:txBody>
          <a:bodyPr wrap="square" rIns="0" rtlCol="0">
            <a:spAutoFit/>
          </a:bodyPr>
          <a:lstStyle/>
          <a:p>
            <a:pPr algn="r" rtl="0"/>
            <a:fld id="{6E8856DA-B77A-4A94-8E84-45BF77D9376B}" type="slidenum">
              <a:rPr lang="en-AU" sz="1231"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rtl="0"/>
              <a:t>‹#›</a:t>
            </a:fld>
            <a:endParaRPr lang="en-AU" sz="1231"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2870088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9"/>
            </p:custDataLst>
            <p:extLst>
              <p:ext uri="{D42A27DB-BD31-4B8C-83A1-F6EECF244321}">
                <p14:modId xmlns:p14="http://schemas.microsoft.com/office/powerpoint/2010/main" val="4038268755"/>
              </p:ext>
            </p:extLst>
          </p:nvPr>
        </p:nvGraphicFramePr>
        <p:xfrm>
          <a:off x="1718" y="1752"/>
          <a:ext cx="1713" cy="1749"/>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4" name="Object 3" hidden="1"/>
                      <p:cNvPicPr/>
                      <p:nvPr/>
                    </p:nvPicPr>
                    <p:blipFill>
                      <a:blip r:embed="rId71"/>
                      <a:stretch>
                        <a:fillRect/>
                      </a:stretch>
                    </p:blipFill>
                    <p:spPr>
                      <a:xfrm>
                        <a:off x="1718" y="1752"/>
                        <a:ext cx="1713" cy="1749"/>
                      </a:xfrm>
                      <a:prstGeom prst="rect">
                        <a:avLst/>
                      </a:prstGeom>
                    </p:spPr>
                  </p:pic>
                </p:oleObj>
              </mc:Fallback>
            </mc:AlternateContent>
          </a:graphicData>
        </a:graphic>
      </p:graphicFrame>
      <p:sp>
        <p:nvSpPr>
          <p:cNvPr id="2" name="Title Placeholder 1"/>
          <p:cNvSpPr>
            <a:spLocks noGrp="1"/>
          </p:cNvSpPr>
          <p:nvPr>
            <p:ph type="title"/>
          </p:nvPr>
        </p:nvSpPr>
        <p:spPr>
          <a:xfrm>
            <a:off x="582837" y="446069"/>
            <a:ext cx="9578017" cy="376371"/>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82837" y="1398574"/>
            <a:ext cx="9519664" cy="5556283"/>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7" name="TextBox 6">
            <a:extLst>
              <a:ext uri="{FF2B5EF4-FFF2-40B4-BE49-F238E27FC236}">
                <a16:creationId xmlns:a16="http://schemas.microsoft.com/office/drawing/2014/main" id="{36F09A90-F513-BA4C-13CC-1CAB516FB8D8}"/>
              </a:ext>
            </a:extLst>
          </p:cNvPr>
          <p:cNvSpPr txBox="1"/>
          <p:nvPr userDrawn="1">
            <p:extLst>
              <p:ext uri="{1162E1C5-73C7-4A58-AE30-91384D911F3F}">
                <p184:classification xmlns:p184="http://schemas.microsoft.com/office/powerpoint/2018/4/main" val="hdr"/>
              </p:ext>
            </p:extLst>
          </p:nvPr>
        </p:nvSpPr>
        <p:spPr>
          <a:xfrm>
            <a:off x="5002213" y="63500"/>
            <a:ext cx="730250" cy="182880"/>
          </a:xfrm>
          <a:prstGeom prst="rect">
            <a:avLst/>
          </a:prstGeom>
        </p:spPr>
        <p:txBody>
          <a:bodyPr horzOverflow="overflow" lIns="0" tIns="0" rIns="0" bIns="0">
            <a:spAutoFit/>
          </a:bodyPr>
          <a:lstStyle/>
          <a:p>
            <a:pPr algn="l"/>
            <a:r>
              <a:rPr lang="en-AU" sz="1200">
                <a:solidFill>
                  <a:srgbClr val="FF0000"/>
                </a:solidFill>
                <a:latin typeface="ARIAL" panose="020B0604020202020204" pitchFamily="34" charset="0"/>
                <a:cs typeface="ARIAL" panose="020B0604020202020204" pitchFamily="34" charset="0"/>
              </a:rPr>
              <a:t>OFFICIAL</a:t>
            </a:r>
          </a:p>
        </p:txBody>
      </p:sp>
      <p:sp>
        <p:nvSpPr>
          <p:cNvPr id="8" name="TextBox 7">
            <a:extLst>
              <a:ext uri="{FF2B5EF4-FFF2-40B4-BE49-F238E27FC236}">
                <a16:creationId xmlns:a16="http://schemas.microsoft.com/office/drawing/2014/main" id="{69C5EF6B-4A95-2552-ADBC-4CABBC932419}"/>
              </a:ext>
            </a:extLst>
          </p:cNvPr>
          <p:cNvSpPr txBox="1"/>
          <p:nvPr userDrawn="1">
            <p:extLst>
              <p:ext uri="{1162E1C5-73C7-4A58-AE30-91384D911F3F}">
                <p184:classification xmlns:p184="http://schemas.microsoft.com/office/powerpoint/2018/4/main" val="ftr"/>
              </p:ext>
            </p:extLst>
          </p:nvPr>
        </p:nvSpPr>
        <p:spPr>
          <a:xfrm>
            <a:off x="5002213" y="7313295"/>
            <a:ext cx="730250" cy="182880"/>
          </a:xfrm>
          <a:prstGeom prst="rect">
            <a:avLst/>
          </a:prstGeom>
        </p:spPr>
        <p:txBody>
          <a:bodyPr horzOverflow="overflow" lIns="0" tIns="0" rIns="0" bIns="0">
            <a:spAutoFit/>
          </a:bodyPr>
          <a:lstStyle/>
          <a:p>
            <a:pPr algn="l"/>
            <a:r>
              <a:rPr lang="en-AU" sz="1200">
                <a:solidFill>
                  <a:srgbClr val="FF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76" r:id="rId2"/>
    <p:sldLayoutId id="2147483777" r:id="rId3"/>
    <p:sldLayoutId id="2147483844" r:id="rId4"/>
    <p:sldLayoutId id="2147483845" r:id="rId5"/>
    <p:sldLayoutId id="2147483738" r:id="rId6"/>
    <p:sldLayoutId id="2147483778" r:id="rId7"/>
    <p:sldLayoutId id="2147483779" r:id="rId8"/>
    <p:sldLayoutId id="2147483790" r:id="rId9"/>
    <p:sldLayoutId id="2147483789" r:id="rId10"/>
    <p:sldLayoutId id="2147483788" r:id="rId11"/>
    <p:sldLayoutId id="2147483672" r:id="rId12"/>
    <p:sldLayoutId id="2147483798" r:id="rId13"/>
    <p:sldLayoutId id="2147483799" r:id="rId14"/>
    <p:sldLayoutId id="2147483800" r:id="rId15"/>
    <p:sldLayoutId id="2147483795" r:id="rId16"/>
    <p:sldLayoutId id="2147483801" r:id="rId17"/>
    <p:sldLayoutId id="2147483802" r:id="rId18"/>
    <p:sldLayoutId id="2147483783" r:id="rId19"/>
    <p:sldLayoutId id="2147483791" r:id="rId20"/>
    <p:sldLayoutId id="2147483793" r:id="rId21"/>
    <p:sldLayoutId id="2147483792" r:id="rId22"/>
    <p:sldLayoutId id="2147483794" r:id="rId23"/>
    <p:sldLayoutId id="2147483771" r:id="rId24"/>
    <p:sldLayoutId id="2147483772" r:id="rId25"/>
    <p:sldLayoutId id="2147483757"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41" r:id="rId36"/>
    <p:sldLayoutId id="2147483840" r:id="rId37"/>
    <p:sldLayoutId id="2147483842" r:id="rId38"/>
    <p:sldLayoutId id="2147483843" r:id="rId39"/>
    <p:sldLayoutId id="2147483838" r:id="rId40"/>
    <p:sldLayoutId id="2147483839" r:id="rId41"/>
    <p:sldLayoutId id="2147483812" r:id="rId42"/>
    <p:sldLayoutId id="2147483813" r:id="rId43"/>
    <p:sldLayoutId id="2147483816" r:id="rId44"/>
    <p:sldLayoutId id="2147483817" r:id="rId45"/>
    <p:sldLayoutId id="2147483818" r:id="rId46"/>
    <p:sldLayoutId id="2147483819" r:id="rId47"/>
    <p:sldLayoutId id="2147483820" r:id="rId48"/>
    <p:sldLayoutId id="2147483821" r:id="rId49"/>
    <p:sldLayoutId id="2147483822" r:id="rId50"/>
    <p:sldLayoutId id="2147483823" r:id="rId51"/>
    <p:sldLayoutId id="2147483824" r:id="rId52"/>
    <p:sldLayoutId id="2147483825" r:id="rId53"/>
    <p:sldLayoutId id="2147483826" r:id="rId54"/>
    <p:sldLayoutId id="2147483827" r:id="rId55"/>
    <p:sldLayoutId id="2147483828" r:id="rId56"/>
    <p:sldLayoutId id="2147483829" r:id="rId57"/>
    <p:sldLayoutId id="2147483830" r:id="rId58"/>
    <p:sldLayoutId id="2147483831" r:id="rId59"/>
    <p:sldLayoutId id="2147483832" r:id="rId60"/>
    <p:sldLayoutId id="2147483833" r:id="rId61"/>
    <p:sldLayoutId id="2147483834" r:id="rId62"/>
    <p:sldLayoutId id="2147483835" r:id="rId63"/>
    <p:sldLayoutId id="2147483836" r:id="rId64"/>
    <p:sldLayoutId id="2147483837" r:id="rId65"/>
    <p:sldLayoutId id="2147483740" r:id="rId66"/>
    <p:sldLayoutId id="2147483773" r:id="rId67"/>
  </p:sldLayoutIdLst>
  <p:hf sldNum="0" hdr="0" ftr="0" dt="0"/>
  <p:txStyles>
    <p:titleStyle>
      <a:lvl1pPr algn="l" defTabSz="937623" rtl="0" eaLnBrk="1" latinLnBrk="0" hangingPunct="1">
        <a:lnSpc>
          <a:spcPct val="100000"/>
        </a:lnSpc>
        <a:spcBef>
          <a:spcPct val="0"/>
        </a:spcBef>
        <a:buNone/>
        <a:defRPr sz="1846" kern="1200" baseline="0">
          <a:solidFill>
            <a:schemeClr val="bg2"/>
          </a:solidFill>
          <a:latin typeface="Segoe UI Semibold" panose="020B0702040204020203" pitchFamily="34" charset="0"/>
          <a:ea typeface="+mj-ea"/>
          <a:cs typeface="+mj-cs"/>
        </a:defRPr>
      </a:lvl1pPr>
    </p:titleStyle>
    <p:bodyStyle>
      <a:lvl1pPr marL="0" indent="0" algn="l" defTabSz="937623" rtl="0" eaLnBrk="1" latinLnBrk="0" hangingPunct="1">
        <a:spcBef>
          <a:spcPts val="615"/>
        </a:spcBef>
        <a:buFont typeface="Arial" pitchFamily="34" charset="0"/>
        <a:buNone/>
        <a:defRPr sz="1025"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4582" indent="-184582" algn="l" defTabSz="937623" rtl="0" eaLnBrk="1" latinLnBrk="0" hangingPunct="1">
        <a:spcBef>
          <a:spcPts val="615"/>
        </a:spcBef>
        <a:buClrTx/>
        <a:buFont typeface="Arial" panose="020B0604020202020204" pitchFamily="34" charset="0"/>
        <a:buChar char="•"/>
        <a:defRPr sz="1025" kern="1200" spc="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69163" indent="-184582" algn="l" defTabSz="937623" rtl="0" eaLnBrk="1" latinLnBrk="0" hangingPunct="1">
        <a:spcBef>
          <a:spcPts val="615"/>
        </a:spcBef>
        <a:buClrTx/>
        <a:buFont typeface="Segoe UI" panose="020B0502040204020203" pitchFamily="34" charset="0"/>
        <a:buChar char="–"/>
        <a:defRPr sz="1025"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553745" indent="-184582" algn="l" defTabSz="937623" rtl="0" eaLnBrk="1" latinLnBrk="0" hangingPunct="1">
        <a:spcBef>
          <a:spcPts val="615"/>
        </a:spcBef>
        <a:buClrTx/>
        <a:buFont typeface="Arial" pitchFamily="34" charset="0"/>
        <a:buChar char="•"/>
        <a:defRPr sz="1025"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738327" indent="-184582" algn="l" defTabSz="937623" rtl="0" eaLnBrk="1" latinLnBrk="0" hangingPunct="1">
        <a:spcBef>
          <a:spcPts val="615"/>
        </a:spcBef>
        <a:buClrTx/>
        <a:buFont typeface="Segoe UI" panose="020B0502040204020203" pitchFamily="34" charset="0"/>
        <a:buChar char="–"/>
        <a:defRPr sz="1025"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16828" indent="-258414" algn="l" defTabSz="937623" rtl="0" eaLnBrk="1" latinLnBrk="0" hangingPunct="1">
        <a:spcBef>
          <a:spcPts val="615"/>
        </a:spcBef>
        <a:buClr>
          <a:schemeClr val="bg2"/>
        </a:buClr>
        <a:buFont typeface="+mj-lt"/>
        <a:buAutoNum type="arabicPeriod"/>
        <a:defRPr sz="1025"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775244" indent="-258414" algn="l" defTabSz="937623" rtl="0" eaLnBrk="1" latinLnBrk="0" hangingPunct="1">
        <a:spcBef>
          <a:spcPts val="615"/>
        </a:spcBef>
        <a:buClr>
          <a:schemeClr val="bg2"/>
        </a:buClr>
        <a:buFont typeface="+mj-lt"/>
        <a:buAutoNum type="alphaLcPeriod"/>
        <a:defRPr sz="102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33658" indent="-258414" algn="l" defTabSz="937623" rtl="0" eaLnBrk="1" latinLnBrk="0" hangingPunct="1">
        <a:spcBef>
          <a:spcPts val="615"/>
        </a:spcBef>
        <a:buClr>
          <a:schemeClr val="bg2"/>
        </a:buClr>
        <a:buFont typeface="+mj-lt"/>
        <a:buAutoNum type="romanLcPeriod"/>
        <a:defRPr sz="1025"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984895" indent="-234406" algn="l" defTabSz="937623" rtl="0" eaLnBrk="1" latinLnBrk="0" hangingPunct="1">
        <a:spcBef>
          <a:spcPct val="20000"/>
        </a:spcBef>
        <a:buFont typeface="Arial" pitchFamily="34" charset="0"/>
        <a:buChar char="•"/>
        <a:defRPr sz="2051" kern="1200">
          <a:solidFill>
            <a:schemeClr val="tx1"/>
          </a:solidFill>
          <a:latin typeface="+mn-lt"/>
          <a:ea typeface="+mn-ea"/>
          <a:cs typeface="+mn-cs"/>
        </a:defRPr>
      </a:lvl9pPr>
    </p:bodyStyle>
    <p:otherStyle>
      <a:defPPr>
        <a:defRPr lang="en-US"/>
      </a:defPPr>
      <a:lvl1pPr marL="0" algn="l" defTabSz="937623" rtl="0" eaLnBrk="1" latinLnBrk="0" hangingPunct="1">
        <a:defRPr sz="1846" kern="1200">
          <a:solidFill>
            <a:schemeClr val="tx1"/>
          </a:solidFill>
          <a:latin typeface="+mn-lt"/>
          <a:ea typeface="+mn-ea"/>
          <a:cs typeface="+mn-cs"/>
        </a:defRPr>
      </a:lvl1pPr>
      <a:lvl2pPr marL="468810" algn="l" defTabSz="937623" rtl="0" eaLnBrk="1" latinLnBrk="0" hangingPunct="1">
        <a:defRPr sz="1846" kern="1200">
          <a:solidFill>
            <a:schemeClr val="tx1"/>
          </a:solidFill>
          <a:latin typeface="+mn-lt"/>
          <a:ea typeface="+mn-ea"/>
          <a:cs typeface="+mn-cs"/>
        </a:defRPr>
      </a:lvl2pPr>
      <a:lvl3pPr marL="937623" algn="l" defTabSz="937623" rtl="0" eaLnBrk="1" latinLnBrk="0" hangingPunct="1">
        <a:defRPr sz="1846" kern="1200">
          <a:solidFill>
            <a:schemeClr val="tx1"/>
          </a:solidFill>
          <a:latin typeface="+mn-lt"/>
          <a:ea typeface="+mn-ea"/>
          <a:cs typeface="+mn-cs"/>
        </a:defRPr>
      </a:lvl3pPr>
      <a:lvl4pPr marL="1406433" algn="l" defTabSz="937623" rtl="0" eaLnBrk="1" latinLnBrk="0" hangingPunct="1">
        <a:defRPr sz="1846" kern="1200">
          <a:solidFill>
            <a:schemeClr val="tx1"/>
          </a:solidFill>
          <a:latin typeface="+mn-lt"/>
          <a:ea typeface="+mn-ea"/>
          <a:cs typeface="+mn-cs"/>
        </a:defRPr>
      </a:lvl4pPr>
      <a:lvl5pPr marL="1875245" algn="l" defTabSz="937623" rtl="0" eaLnBrk="1" latinLnBrk="0" hangingPunct="1">
        <a:defRPr sz="1846" kern="1200">
          <a:solidFill>
            <a:schemeClr val="tx1"/>
          </a:solidFill>
          <a:latin typeface="+mn-lt"/>
          <a:ea typeface="+mn-ea"/>
          <a:cs typeface="+mn-cs"/>
        </a:defRPr>
      </a:lvl5pPr>
      <a:lvl6pPr marL="2344056" algn="l" defTabSz="937623" rtl="0" eaLnBrk="1" latinLnBrk="0" hangingPunct="1">
        <a:defRPr sz="1846" kern="1200">
          <a:solidFill>
            <a:schemeClr val="tx1"/>
          </a:solidFill>
          <a:latin typeface="+mn-lt"/>
          <a:ea typeface="+mn-ea"/>
          <a:cs typeface="+mn-cs"/>
        </a:defRPr>
      </a:lvl6pPr>
      <a:lvl7pPr marL="2812866" algn="l" defTabSz="937623" rtl="0" eaLnBrk="1" latinLnBrk="0" hangingPunct="1">
        <a:defRPr sz="1846" kern="1200">
          <a:solidFill>
            <a:schemeClr val="tx1"/>
          </a:solidFill>
          <a:latin typeface="+mn-lt"/>
          <a:ea typeface="+mn-ea"/>
          <a:cs typeface="+mn-cs"/>
        </a:defRPr>
      </a:lvl7pPr>
      <a:lvl8pPr marL="3281679" algn="l" defTabSz="937623" rtl="0" eaLnBrk="1" latinLnBrk="0" hangingPunct="1">
        <a:defRPr sz="1846" kern="1200">
          <a:solidFill>
            <a:schemeClr val="tx1"/>
          </a:solidFill>
          <a:latin typeface="+mn-lt"/>
          <a:ea typeface="+mn-ea"/>
          <a:cs typeface="+mn-cs"/>
        </a:defRPr>
      </a:lvl8pPr>
      <a:lvl9pPr marL="3750489" algn="l" defTabSz="937623" rtl="0" eaLnBrk="1" latinLnBrk="0" hangingPunct="1">
        <a:defRPr sz="184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26.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9.svg"/></Relationships>
</file>

<file path=ppt/slides/_rels/slide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6.xml"/><Relationship Id="rId1" Type="http://schemas.openxmlformats.org/officeDocument/2006/relationships/tags" Target="../tags/tag70.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20.emf"/></Relationships>
</file>

<file path=ppt/slides/_rels/slide5.xml.rels><?xml version="1.0" encoding="UTF-8" standalone="yes"?>
<Relationships xmlns="http://schemas.openxmlformats.org/package/2006/relationships"><Relationship Id="rId2" Type="http://schemas.openxmlformats.org/officeDocument/2006/relationships/hyperlink" Target="https://www.niaa.gov.au/resource-centre/evaluation-indigenous-business-and-employment-hubs-program-final-report" TargetMode="Externa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9E0280-AF90-717E-4E05-7D06739EE95F}"/>
              </a:ext>
              <a:ext uri="{C183D7F6-B498-43B3-948B-1728B52AA6E4}">
                <adec:decorative xmlns:adec="http://schemas.microsoft.com/office/drawing/2017/decorative" val="1"/>
              </a:ext>
            </a:extLst>
          </p:cNvPr>
          <p:cNvSpPr/>
          <p:nvPr/>
        </p:nvSpPr>
        <p:spPr>
          <a:xfrm>
            <a:off x="0" y="-6"/>
            <a:ext cx="10691813" cy="7559681"/>
          </a:xfrm>
          <a:prstGeom prst="rect">
            <a:avLst/>
          </a:prstGeom>
          <a:solidFill>
            <a:schemeClr val="bg2">
              <a:alpha val="98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pic>
        <p:nvPicPr>
          <p:cNvPr id="3" name="Graphic 2">
            <a:extLst>
              <a:ext uri="{FF2B5EF4-FFF2-40B4-BE49-F238E27FC236}">
                <a16:creationId xmlns:a16="http://schemas.microsoft.com/office/drawing/2014/main" id="{8BD40836-5096-21DF-B0B2-168FF3676E2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a:blip r:embed="rId2">
            <a:alphaModFix amt="2000"/>
            <a:extLst>
              <a:ext uri="{96DAC541-7B7A-43D3-8B79-37D633B846F1}">
                <asvg:svgBlip xmlns:asvg="http://schemas.microsoft.com/office/drawing/2016/SVG/main" r:embed="rId3"/>
              </a:ext>
            </a:extLst>
          </a:blip>
          <a:stretch>
            <a:fillRect/>
          </a:stretch>
        </p:blipFill>
        <p:spPr>
          <a:xfrm>
            <a:off x="-446120" y="-391537"/>
            <a:ext cx="11584049" cy="8342741"/>
          </a:xfrm>
          <a:prstGeom prst="rect">
            <a:avLst/>
          </a:prstGeom>
        </p:spPr>
      </p:pic>
      <p:pic>
        <p:nvPicPr>
          <p:cNvPr id="4" name="Picture 3">
            <a:extLst>
              <a:ext uri="{FF2B5EF4-FFF2-40B4-BE49-F238E27FC236}">
                <a16:creationId xmlns:a16="http://schemas.microsoft.com/office/drawing/2014/main" id="{748A5464-147E-A364-E9A3-8FE12F63C87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90509" y="7077140"/>
            <a:ext cx="711317" cy="194124"/>
          </a:xfrm>
          <a:prstGeom prst="rect">
            <a:avLst/>
          </a:prstGeom>
        </p:spPr>
      </p:pic>
      <p:sp>
        <p:nvSpPr>
          <p:cNvPr id="8" name="Title 7">
            <a:extLst>
              <a:ext uri="{FF2B5EF4-FFF2-40B4-BE49-F238E27FC236}">
                <a16:creationId xmlns:a16="http://schemas.microsoft.com/office/drawing/2014/main" id="{DCF4D879-A20A-B432-7354-81B695AFF1B6}"/>
              </a:ext>
            </a:extLst>
          </p:cNvPr>
          <p:cNvSpPr>
            <a:spLocks noGrp="1"/>
          </p:cNvSpPr>
          <p:nvPr>
            <p:ph type="title" idx="4294967295"/>
          </p:nvPr>
        </p:nvSpPr>
        <p:spPr>
          <a:xfrm>
            <a:off x="390911" y="702268"/>
            <a:ext cx="5311470" cy="62746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1205793" rtl="0" eaLnBrk="1" fontAlgn="auto" latinLnBrk="0" hangingPunct="1">
              <a:lnSpc>
                <a:spcPts val="3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FFFFFF"/>
                </a:solidFill>
                <a:effectLst/>
                <a:uLnTx/>
                <a:uFillTx/>
                <a:latin typeface="+mj-lt"/>
                <a:ea typeface="+mn-ea"/>
                <a:cs typeface="Segoe UI" panose="020B0502040204020203" pitchFamily="34" charset="0"/>
              </a:rPr>
              <a:t>Evaluation of The Indigenous Business and Employment Hubs Program</a:t>
            </a:r>
          </a:p>
        </p:txBody>
      </p:sp>
      <p:sp>
        <p:nvSpPr>
          <p:cNvPr id="10" name="Rectangle 9">
            <a:extLst>
              <a:ext uri="{FF2B5EF4-FFF2-40B4-BE49-F238E27FC236}">
                <a16:creationId xmlns:a16="http://schemas.microsoft.com/office/drawing/2014/main" id="{D91EF413-55A7-2F4F-050C-594A9363C953}"/>
              </a:ext>
            </a:extLst>
          </p:cNvPr>
          <p:cNvSpPr/>
          <p:nvPr/>
        </p:nvSpPr>
        <p:spPr>
          <a:xfrm>
            <a:off x="390911" y="318891"/>
            <a:ext cx="3605376" cy="221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200" b="1">
                <a:solidFill>
                  <a:schemeClr val="accent3">
                    <a:lumMod val="100000"/>
                  </a:schemeClr>
                </a:solidFill>
                <a:latin typeface="Segoe Print" panose="02000600000000000000" pitchFamily="2" charset="0"/>
              </a:rPr>
              <a:t>The National Indigenous Australians Agency</a:t>
            </a:r>
          </a:p>
        </p:txBody>
      </p:sp>
      <p:sp>
        <p:nvSpPr>
          <p:cNvPr id="11" name="TextBox 10">
            <a:extLst>
              <a:ext uri="{FF2B5EF4-FFF2-40B4-BE49-F238E27FC236}">
                <a16:creationId xmlns:a16="http://schemas.microsoft.com/office/drawing/2014/main" id="{C253D798-4B2F-20AA-66A8-B318CE81F203}"/>
              </a:ext>
            </a:extLst>
          </p:cNvPr>
          <p:cNvSpPr txBox="1"/>
          <p:nvPr/>
        </p:nvSpPr>
        <p:spPr>
          <a:xfrm>
            <a:off x="7835901" y="318891"/>
            <a:ext cx="2565925" cy="1768048"/>
          </a:xfrm>
          <a:prstGeom prst="rect">
            <a:avLst/>
          </a:prstGeom>
          <a:noFill/>
        </p:spPr>
        <p:txBody>
          <a:bodyPr wrap="square" lIns="0" rIns="0" anchor="t">
            <a:spAutoFit/>
          </a:bodyPr>
          <a:lstStyle/>
          <a:p>
            <a:pPr algn="r" defTabSz="1205793">
              <a:lnSpc>
                <a:spcPts val="1800"/>
              </a:lnSpc>
              <a:spcBef>
                <a:spcPts val="4200"/>
              </a:spcBef>
              <a:spcAft>
                <a:spcPts val="600"/>
              </a:spcAft>
            </a:pPr>
            <a:r>
              <a:rPr lang="en-AU" sz="1200" b="1" dirty="0">
                <a:solidFill>
                  <a:schemeClr val="accent3">
                    <a:lumMod val="100000"/>
                  </a:schemeClr>
                </a:solidFill>
                <a:latin typeface="Segoe Print" panose="02000600000000000000" pitchFamily="2" charset="0"/>
              </a:rPr>
              <a:t>Acknowledgement</a:t>
            </a:r>
          </a:p>
          <a:p>
            <a:pPr algn="r" defTabSz="1205793">
              <a:lnSpc>
                <a:spcPts val="1800"/>
              </a:lnSpc>
            </a:pPr>
            <a:r>
              <a:rPr lang="en-AU" sz="1200" i="1" dirty="0">
                <a:solidFill>
                  <a:schemeClr val="bg1"/>
                </a:solidFill>
                <a:latin typeface="Segoe UI Semilight" panose="020B0402040204020203" pitchFamily="34" charset="0"/>
                <a:cs typeface="Segoe UI Semilight" panose="020B0402040204020203" pitchFamily="34" charset="0"/>
              </a:rPr>
              <a:t>Nous Group acknowledges the work, input and contributions that First Nations people, businesses and communities across Australia have made to the hubs program by supporting this evaluation.</a:t>
            </a:r>
          </a:p>
        </p:txBody>
      </p:sp>
      <p:sp>
        <p:nvSpPr>
          <p:cNvPr id="9" name="Rectangle 8">
            <a:extLst>
              <a:ext uri="{FF2B5EF4-FFF2-40B4-BE49-F238E27FC236}">
                <a16:creationId xmlns:a16="http://schemas.microsoft.com/office/drawing/2014/main" id="{0CF4A97F-C9D3-7028-931F-CEFC57673244}"/>
              </a:ext>
            </a:extLst>
          </p:cNvPr>
          <p:cNvSpPr/>
          <p:nvPr/>
        </p:nvSpPr>
        <p:spPr>
          <a:xfrm>
            <a:off x="390911" y="2333247"/>
            <a:ext cx="6895790" cy="1081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1205793">
              <a:lnSpc>
                <a:spcPts val="1800"/>
              </a:lnSpc>
              <a:spcAft>
                <a:spcPts val="600"/>
              </a:spcAft>
            </a:pPr>
            <a:r>
              <a:rPr lang="en-AU" sz="1200" b="1" dirty="0">
                <a:solidFill>
                  <a:schemeClr val="accent3">
                    <a:lumMod val="100000"/>
                  </a:schemeClr>
                </a:solidFill>
                <a:latin typeface="Segoe Print" panose="02000600000000000000" pitchFamily="2" charset="0"/>
              </a:rPr>
              <a:t>Evaluation background</a:t>
            </a:r>
          </a:p>
          <a:p>
            <a:pPr defTabSz="1205793">
              <a:lnSpc>
                <a:spcPts val="1800"/>
              </a:lnSpc>
              <a:spcAft>
                <a:spcPts val="600"/>
              </a:spcAft>
            </a:pPr>
            <a:r>
              <a:rPr lang="en-AU" sz="1200" dirty="0">
                <a:solidFill>
                  <a:schemeClr val="bg1">
                    <a:lumMod val="100000"/>
                  </a:schemeClr>
                </a:solidFill>
                <a:latin typeface="Segoe UI Semilight" panose="020B0402040204020203" pitchFamily="34" charset="0"/>
                <a:cs typeface="Segoe UI Semilight" panose="020B0402040204020203" pitchFamily="34" charset="0"/>
              </a:rPr>
              <a:t>From August 2023 to November 2024, Nous Group conducted an evaluation of the Indigenous Business and Employment Hubs Program to understand how successful it is in meeting the needs of First Nations businesspeople.</a:t>
            </a:r>
            <a:r>
              <a:rPr lang="en-AU" sz="1200" dirty="0">
                <a:solidFill>
                  <a:schemeClr val="bg1">
                    <a:lumMod val="100000"/>
                  </a:schemeClr>
                </a:solidFill>
                <a:latin typeface="Segoe UI Semilight" panose="020B0402040204020203" pitchFamily="34" charset="0"/>
                <a:ea typeface="Times New Roman" panose="02020603050405020304" pitchFamily="18" charset="0"/>
                <a:cs typeface="Segoe UI Semilight" panose="020B0402040204020203" pitchFamily="34" charset="0"/>
              </a:rPr>
              <a:t> </a:t>
            </a:r>
            <a:endParaRPr lang="en-AU" sz="1200" dirty="0">
              <a:solidFill>
                <a:schemeClr val="bg1">
                  <a:lumMod val="100000"/>
                </a:schemeClr>
              </a:solidFill>
              <a:latin typeface="Segoe UI Semilight" panose="020B0402040204020203" pitchFamily="34" charset="0"/>
              <a:cs typeface="Segoe UI Semilight" panose="020B0402040204020203" pitchFamily="34" charset="0"/>
            </a:endParaRPr>
          </a:p>
        </p:txBody>
      </p:sp>
      <p:sp>
        <p:nvSpPr>
          <p:cNvPr id="6" name="Rectangle 5">
            <a:extLst>
              <a:ext uri="{FF2B5EF4-FFF2-40B4-BE49-F238E27FC236}">
                <a16:creationId xmlns:a16="http://schemas.microsoft.com/office/drawing/2014/main" id="{9F66BA65-9BFB-6D45-5D45-A13671F90E26}"/>
              </a:ext>
            </a:extLst>
          </p:cNvPr>
          <p:cNvSpPr/>
          <p:nvPr/>
        </p:nvSpPr>
        <p:spPr>
          <a:xfrm>
            <a:off x="390911" y="3475760"/>
            <a:ext cx="6895790" cy="1845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1205793">
              <a:lnSpc>
                <a:spcPts val="1800"/>
              </a:lnSpc>
              <a:spcAft>
                <a:spcPts val="600"/>
              </a:spcAft>
            </a:pPr>
            <a:r>
              <a:rPr lang="en-AU" sz="1200" b="1" dirty="0">
                <a:solidFill>
                  <a:schemeClr val="accent3">
                    <a:lumMod val="100000"/>
                  </a:schemeClr>
                </a:solidFill>
                <a:latin typeface="Segoe Print" panose="02000600000000000000" pitchFamily="2" charset="0"/>
                <a:ea typeface="Times New Roman" panose="02020603050405020304" pitchFamily="18" charset="0"/>
                <a:cs typeface="Times New Roman" panose="02020603050405020304" pitchFamily="18" charset="0"/>
              </a:rPr>
              <a:t>About the hubs program</a:t>
            </a:r>
            <a:endParaRPr lang="en-AU" sz="1200" b="1" dirty="0">
              <a:solidFill>
                <a:schemeClr val="accent3">
                  <a:lumMod val="100000"/>
                </a:schemeClr>
              </a:solidFill>
              <a:latin typeface="Segoe Print" panose="02000600000000000000" pitchFamily="2" charset="0"/>
              <a:ea typeface="Segoe UI" panose="020B0502040204020203" pitchFamily="34" charset="0"/>
              <a:cs typeface="Times New Roman" panose="02020603050405020304" pitchFamily="18" charset="0"/>
            </a:endParaRPr>
          </a:p>
          <a:p>
            <a:pPr>
              <a:lnSpc>
                <a:spcPts val="1800"/>
              </a:lnSpc>
              <a:spcAft>
                <a:spcPts val="600"/>
              </a:spcAft>
              <a:buSzPts val="800"/>
            </a:pPr>
            <a:r>
              <a:rPr lang="en-AU" sz="1200" dirty="0">
                <a:solidFill>
                  <a:schemeClr val="bg1">
                    <a:lumMod val="100000"/>
                  </a:schemeClr>
                </a:solidFill>
                <a:latin typeface="Segoe UI Semilight" panose="020B0402040204020203" pitchFamily="34" charset="0"/>
                <a:cs typeface="Segoe UI Semilight" panose="020B0402040204020203" pitchFamily="34" charset="0"/>
              </a:rPr>
              <a:t>The hubs program was introduced by the Australian Government in 2018 under the Indigenous Business Sector Strategy, and was developed based on consultations the Government conducted with First Nations businesspeople. </a:t>
            </a:r>
          </a:p>
          <a:p>
            <a:pPr>
              <a:lnSpc>
                <a:spcPts val="1800"/>
              </a:lnSpc>
              <a:spcAft>
                <a:spcPts val="600"/>
              </a:spcAft>
              <a:buSzPts val="800"/>
            </a:pPr>
            <a:r>
              <a:rPr lang="en-AU" sz="1200" dirty="0">
                <a:solidFill>
                  <a:schemeClr val="bg1">
                    <a:lumMod val="100000"/>
                  </a:schemeClr>
                </a:solidFill>
                <a:latin typeface="Segoe UI Semilight" panose="020B0402040204020203" pitchFamily="34" charset="0"/>
                <a:cs typeface="Segoe UI Semilight" panose="020B0402040204020203" pitchFamily="34" charset="0"/>
              </a:rPr>
              <a:t>The hubs were intended to fill a gap in business support services for First Nations people by acting as ‘one-stop-shops’ that provide a single place for hub clients to access appropriate business advice and be connected with existing business support services. Three of the hubs were established in cities to take advantage of opportunities presented by City Deals.</a:t>
            </a:r>
          </a:p>
          <a:p>
            <a:pPr marL="171450" indent="-171450">
              <a:lnSpc>
                <a:spcPts val="1800"/>
              </a:lnSpc>
              <a:spcAft>
                <a:spcPts val="600"/>
              </a:spcAft>
              <a:buSzPts val="800"/>
              <a:buFont typeface="Arial" panose="020B0604020202020204" pitchFamily="34" charset="0"/>
              <a:buChar char="•"/>
            </a:pPr>
            <a:endParaRPr lang="en-AU" sz="1200" dirty="0">
              <a:solidFill>
                <a:schemeClr val="bg1">
                  <a:lumMod val="100000"/>
                </a:schemeClr>
              </a:solidFill>
              <a:latin typeface="Segoe UI Semilight" panose="020B0402040204020203" pitchFamily="34" charset="0"/>
              <a:cs typeface="Segoe UI Semilight" panose="020B0402040204020203" pitchFamily="34" charset="0"/>
            </a:endParaRPr>
          </a:p>
        </p:txBody>
      </p:sp>
      <p:sp>
        <p:nvSpPr>
          <p:cNvPr id="5" name="TextBox 4">
            <a:extLst>
              <a:ext uri="{FF2B5EF4-FFF2-40B4-BE49-F238E27FC236}">
                <a16:creationId xmlns:a16="http://schemas.microsoft.com/office/drawing/2014/main" id="{10F43FCA-0E16-531F-D398-D8238AE316D9}"/>
              </a:ext>
            </a:extLst>
          </p:cNvPr>
          <p:cNvSpPr txBox="1"/>
          <p:nvPr/>
        </p:nvSpPr>
        <p:spPr>
          <a:xfrm>
            <a:off x="342571" y="7005662"/>
            <a:ext cx="8280730" cy="337080"/>
          </a:xfrm>
          <a:prstGeom prst="rect">
            <a:avLst/>
          </a:prstGeom>
          <a:noFill/>
        </p:spPr>
        <p:txBody>
          <a:bodyPr wrap="square" lIns="0" rIns="0">
            <a:spAutoFit/>
          </a:bodyPr>
          <a:lstStyle/>
          <a:p>
            <a:pPr>
              <a:lnSpc>
                <a:spcPts val="1000"/>
              </a:lnSpc>
            </a:pPr>
            <a:r>
              <a:rPr lang="en-AU" sz="700" i="1" dirty="0">
                <a:solidFill>
                  <a:schemeClr val="bg1"/>
                </a:solidFill>
              </a:rPr>
              <a:t>The background artwork, by Nouser, Selina Swan </a:t>
            </a:r>
            <a:r>
              <a:rPr lang="en-AU" sz="700" i="1" dirty="0" err="1">
                <a:solidFill>
                  <a:schemeClr val="bg1"/>
                </a:solidFill>
              </a:rPr>
              <a:t>Nungurrayi</a:t>
            </a:r>
            <a:r>
              <a:rPr lang="en-AU" sz="700" i="1" dirty="0">
                <a:solidFill>
                  <a:schemeClr val="bg1"/>
                </a:solidFill>
              </a:rPr>
              <a:t>, a proud Kija, </a:t>
            </a:r>
            <a:r>
              <a:rPr lang="en-AU" sz="700" i="1" dirty="0" err="1">
                <a:solidFill>
                  <a:schemeClr val="bg1"/>
                </a:solidFill>
              </a:rPr>
              <a:t>Ngardi</a:t>
            </a:r>
            <a:r>
              <a:rPr lang="en-AU" sz="700" i="1" dirty="0">
                <a:solidFill>
                  <a:schemeClr val="bg1"/>
                </a:solidFill>
              </a:rPr>
              <a:t>-Jaru Woman from Halls Creek in WA, is inspired by the theme “We, Wit, Wisdom”. The three circles connect we, wit and wisdom side by side, with the connecting lines signifying the transcending and flexible ways in which we work. Reflecting traditional songlines, the artwork represents courage, connection, celebrations, ceremonies and healing.</a:t>
            </a:r>
          </a:p>
        </p:txBody>
      </p:sp>
    </p:spTree>
    <p:extLst>
      <p:ext uri="{BB962C8B-B14F-4D97-AF65-F5344CB8AC3E}">
        <p14:creationId xmlns:p14="http://schemas.microsoft.com/office/powerpoint/2010/main" val="2655361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DBC483-50C3-AC8E-6DB9-94C0095542E4}"/>
              </a:ext>
              <a:ext uri="{C183D7F6-B498-43B3-948B-1728B52AA6E4}">
                <adec:decorative xmlns:adec="http://schemas.microsoft.com/office/drawing/2017/decorative" val="1"/>
              </a:ext>
            </a:extLst>
          </p:cNvPr>
          <p:cNvSpPr/>
          <p:nvPr/>
        </p:nvSpPr>
        <p:spPr>
          <a:xfrm>
            <a:off x="0" y="0"/>
            <a:ext cx="10691813" cy="7559675"/>
          </a:xfrm>
          <a:prstGeom prst="rect">
            <a:avLst/>
          </a:prstGeom>
          <a:solidFill>
            <a:schemeClr val="accent5"/>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3" name="Graphic 2">
            <a:extLst>
              <a:ext uri="{FF2B5EF4-FFF2-40B4-BE49-F238E27FC236}">
                <a16:creationId xmlns:a16="http://schemas.microsoft.com/office/drawing/2014/main" id="{44328C6C-FDD9-BE05-B058-1B467ADD4DD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a:blip r:embed="rId3">
            <a:alphaModFix amt="15000"/>
            <a:extLst>
              <a:ext uri="{96DAC541-7B7A-43D3-8B79-37D633B846F1}">
                <asvg:svgBlip xmlns:asvg="http://schemas.microsoft.com/office/drawing/2016/SVG/main" r:embed="rId4"/>
              </a:ext>
            </a:extLst>
          </a:blip>
          <a:stretch>
            <a:fillRect/>
          </a:stretch>
        </p:blipFill>
        <p:spPr>
          <a:xfrm>
            <a:off x="7576009" y="0"/>
            <a:ext cx="3110332" cy="7559675"/>
          </a:xfrm>
          <a:prstGeom prst="rect">
            <a:avLst/>
          </a:prstGeom>
        </p:spPr>
      </p:pic>
      <p:grpSp>
        <p:nvGrpSpPr>
          <p:cNvPr id="4" name="Group 3">
            <a:extLst>
              <a:ext uri="{FF2B5EF4-FFF2-40B4-BE49-F238E27FC236}">
                <a16:creationId xmlns:a16="http://schemas.microsoft.com/office/drawing/2014/main" id="{0E7D046A-EA7F-F2B0-5C62-FFDBDF17FED6}"/>
              </a:ext>
              <a:ext uri="{C183D7F6-B498-43B3-948B-1728B52AA6E4}">
                <adec:decorative xmlns:adec="http://schemas.microsoft.com/office/drawing/2017/decorative" val="1"/>
              </a:ext>
            </a:extLst>
          </p:cNvPr>
          <p:cNvGrpSpPr/>
          <p:nvPr/>
        </p:nvGrpSpPr>
        <p:grpSpPr>
          <a:xfrm>
            <a:off x="-4159" y="0"/>
            <a:ext cx="3850308" cy="7560603"/>
            <a:chOff x="-4159" y="0"/>
            <a:chExt cx="3850308" cy="7560603"/>
          </a:xfrm>
        </p:grpSpPr>
        <p:sp>
          <p:nvSpPr>
            <p:cNvPr id="5" name="Freeform: Shape 4">
              <a:extLst>
                <a:ext uri="{FF2B5EF4-FFF2-40B4-BE49-F238E27FC236}">
                  <a16:creationId xmlns:a16="http://schemas.microsoft.com/office/drawing/2014/main" id="{BA4A07C4-9BDC-2A0A-54A2-950AA113816F}"/>
                </a:ext>
                <a:ext uri="{C183D7F6-B498-43B3-948B-1728B52AA6E4}">
                  <adec:decorative xmlns:adec="http://schemas.microsoft.com/office/drawing/2017/decorative" val="1"/>
                </a:ext>
              </a:extLst>
            </p:cNvPr>
            <p:cNvSpPr/>
            <p:nvPr/>
          </p:nvSpPr>
          <p:spPr>
            <a:xfrm>
              <a:off x="168213" y="0"/>
              <a:ext cx="3677936" cy="7559675"/>
            </a:xfrm>
            <a:custGeom>
              <a:avLst/>
              <a:gdLst>
                <a:gd name="connsiteX0" fmla="*/ 0 w 4813620"/>
                <a:gd name="connsiteY0" fmla="*/ 0 h 7559675"/>
                <a:gd name="connsiteX1" fmla="*/ 4687589 w 4813620"/>
                <a:gd name="connsiteY1" fmla="*/ 0 h 7559675"/>
                <a:gd name="connsiteX2" fmla="*/ 4688793 w 4813620"/>
                <a:gd name="connsiteY2" fmla="*/ 119052 h 7559675"/>
                <a:gd name="connsiteX3" fmla="*/ 4664679 w 4813620"/>
                <a:gd name="connsiteY3" fmla="*/ 314160 h 7559675"/>
                <a:gd name="connsiteX4" fmla="*/ 4124770 w 4813620"/>
                <a:gd name="connsiteY4" fmla="*/ 1951546 h 7559675"/>
                <a:gd name="connsiteX5" fmla="*/ 4797110 w 4813620"/>
                <a:gd name="connsiteY5" fmla="*/ 4091985 h 7559675"/>
                <a:gd name="connsiteX6" fmla="*/ 4410005 w 4813620"/>
                <a:gd name="connsiteY6" fmla="*/ 6429699 h 7559675"/>
                <a:gd name="connsiteX7" fmla="*/ 4773201 w 4813620"/>
                <a:gd name="connsiteY7" fmla="*/ 7504005 h 7559675"/>
                <a:gd name="connsiteX8" fmla="*/ 4813620 w 4813620"/>
                <a:gd name="connsiteY8" fmla="*/ 7559675 h 7559675"/>
                <a:gd name="connsiteX9" fmla="*/ 0 w 4813620"/>
                <a:gd name="connsiteY9" fmla="*/ 7559675 h 7559675"/>
                <a:gd name="connsiteX10" fmla="*/ 0 w 4813620"/>
                <a:gd name="connsiteY10" fmla="*/ 0 h 755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3620" h="7559675">
                  <a:moveTo>
                    <a:pt x="0" y="0"/>
                  </a:moveTo>
                  <a:lnTo>
                    <a:pt x="4687589" y="0"/>
                  </a:lnTo>
                  <a:lnTo>
                    <a:pt x="4688793" y="119052"/>
                  </a:lnTo>
                  <a:cubicBezTo>
                    <a:pt x="4685053" y="181821"/>
                    <a:pt x="4676988" y="246963"/>
                    <a:pt x="4664679" y="314160"/>
                  </a:cubicBezTo>
                  <a:cubicBezTo>
                    <a:pt x="4566204" y="851735"/>
                    <a:pt x="4102698" y="1321909"/>
                    <a:pt x="4124770" y="1951546"/>
                  </a:cubicBezTo>
                  <a:cubicBezTo>
                    <a:pt x="4146842" y="2581184"/>
                    <a:pt x="4749570" y="3345627"/>
                    <a:pt x="4797110" y="4091985"/>
                  </a:cubicBezTo>
                  <a:cubicBezTo>
                    <a:pt x="4844649" y="4838343"/>
                    <a:pt x="4386236" y="5824721"/>
                    <a:pt x="4410005" y="6429699"/>
                  </a:cubicBezTo>
                  <a:cubicBezTo>
                    <a:pt x="4428204" y="6892885"/>
                    <a:pt x="4592702" y="7241396"/>
                    <a:pt x="4773201" y="7504005"/>
                  </a:cubicBezTo>
                  <a:lnTo>
                    <a:pt x="4813620" y="7559675"/>
                  </a:lnTo>
                  <a:lnTo>
                    <a:pt x="0" y="7559675"/>
                  </a:lnTo>
                  <a:lnTo>
                    <a:pt x="0" y="0"/>
                  </a:lnTo>
                  <a:close/>
                </a:path>
              </a:pathLst>
            </a:custGeom>
            <a:gradFill>
              <a:gsLst>
                <a:gs pos="65000">
                  <a:schemeClr val="accent1"/>
                </a:gs>
                <a:gs pos="73000">
                  <a:schemeClr val="accent2"/>
                </a:gs>
                <a:gs pos="86000">
                  <a:schemeClr val="accent3"/>
                </a:gs>
                <a:gs pos="95000">
                  <a:schemeClr val="accent4"/>
                </a:gs>
              </a:gsLst>
              <a:lin ang="600000" scaled="0"/>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100">
                <a:solidFill>
                  <a:schemeClr val="accent3"/>
                </a:solidFill>
              </a:endParaRPr>
            </a:p>
          </p:txBody>
        </p:sp>
        <p:sp>
          <p:nvSpPr>
            <p:cNvPr id="6" name="Freeform: Shape 5">
              <a:extLst>
                <a:ext uri="{FF2B5EF4-FFF2-40B4-BE49-F238E27FC236}">
                  <a16:creationId xmlns:a16="http://schemas.microsoft.com/office/drawing/2014/main" id="{CF6E93DB-8E8F-1AAC-F205-18C3B9CDD1EA}"/>
                </a:ext>
                <a:ext uri="{C183D7F6-B498-43B3-948B-1728B52AA6E4}">
                  <adec:decorative xmlns:adec="http://schemas.microsoft.com/office/drawing/2017/decorative" val="1"/>
                </a:ext>
              </a:extLst>
            </p:cNvPr>
            <p:cNvSpPr/>
            <p:nvPr/>
          </p:nvSpPr>
          <p:spPr>
            <a:xfrm>
              <a:off x="-4159" y="0"/>
              <a:ext cx="3799438" cy="7560603"/>
            </a:xfrm>
            <a:custGeom>
              <a:avLst/>
              <a:gdLst>
                <a:gd name="connsiteX0" fmla="*/ 0 w 4024392"/>
                <a:gd name="connsiteY0" fmla="*/ 0 h 7560603"/>
                <a:gd name="connsiteX1" fmla="*/ 141900 w 4024392"/>
                <a:gd name="connsiteY1" fmla="*/ 0 h 7560603"/>
                <a:gd name="connsiteX2" fmla="*/ 141900 w 4024392"/>
                <a:gd name="connsiteY2" fmla="*/ 928 h 7560603"/>
                <a:gd name="connsiteX3" fmla="*/ 3863175 w 4024392"/>
                <a:gd name="connsiteY3" fmla="*/ 928 h 7560603"/>
                <a:gd name="connsiteX4" fmla="*/ 3867585 w 4024392"/>
                <a:gd name="connsiteY4" fmla="*/ 32519 h 7560603"/>
                <a:gd name="connsiteX5" fmla="*/ 3849884 w 4024392"/>
                <a:gd name="connsiteY5" fmla="*/ 399407 h 7560603"/>
                <a:gd name="connsiteX6" fmla="*/ 3421020 w 4024392"/>
                <a:gd name="connsiteY6" fmla="*/ 1997201 h 7560603"/>
                <a:gd name="connsiteX7" fmla="*/ 3955077 w 4024392"/>
                <a:gd name="connsiteY7" fmla="*/ 4085883 h 7560603"/>
                <a:gd name="connsiteX8" fmla="*/ 3647590 w 4024392"/>
                <a:gd name="connsiteY8" fmla="*/ 6367070 h 7560603"/>
                <a:gd name="connsiteX9" fmla="*/ 3998009 w 4024392"/>
                <a:gd name="connsiteY9" fmla="*/ 7520175 h 7560603"/>
                <a:gd name="connsiteX10" fmla="*/ 4024392 w 4024392"/>
                <a:gd name="connsiteY10" fmla="*/ 7560603 h 7560603"/>
                <a:gd name="connsiteX11" fmla="*/ 31484 w 4024392"/>
                <a:gd name="connsiteY11" fmla="*/ 7560603 h 7560603"/>
                <a:gd name="connsiteX12" fmla="*/ 31484 w 4024392"/>
                <a:gd name="connsiteY12" fmla="*/ 7560139 h 7560603"/>
                <a:gd name="connsiteX13" fmla="*/ 0 w 4024392"/>
                <a:gd name="connsiteY13" fmla="*/ 7560139 h 7560603"/>
                <a:gd name="connsiteX14" fmla="*/ 0 w 4024392"/>
                <a:gd name="connsiteY14" fmla="*/ 0 h 756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24392" h="7560603">
                  <a:moveTo>
                    <a:pt x="0" y="0"/>
                  </a:moveTo>
                  <a:lnTo>
                    <a:pt x="141900" y="0"/>
                  </a:lnTo>
                  <a:lnTo>
                    <a:pt x="141900" y="928"/>
                  </a:lnTo>
                  <a:lnTo>
                    <a:pt x="3863175" y="928"/>
                  </a:lnTo>
                  <a:lnTo>
                    <a:pt x="3867585" y="32519"/>
                  </a:lnTo>
                  <a:cubicBezTo>
                    <a:pt x="3875509" y="145140"/>
                    <a:pt x="3869439" y="268263"/>
                    <a:pt x="3849884" y="399407"/>
                  </a:cubicBezTo>
                  <a:cubicBezTo>
                    <a:pt x="3771663" y="923983"/>
                    <a:pt x="3403488" y="1382788"/>
                    <a:pt x="3421020" y="1997201"/>
                  </a:cubicBezTo>
                  <a:cubicBezTo>
                    <a:pt x="3438553" y="2611614"/>
                    <a:pt x="3917316" y="3357572"/>
                    <a:pt x="3955077" y="4085883"/>
                  </a:cubicBezTo>
                  <a:cubicBezTo>
                    <a:pt x="3992839" y="4814194"/>
                    <a:pt x="3628709" y="5776721"/>
                    <a:pt x="3647590" y="6367070"/>
                  </a:cubicBezTo>
                  <a:cubicBezTo>
                    <a:pt x="3664111" y="6883625"/>
                    <a:pt x="3832415" y="7254023"/>
                    <a:pt x="3998009" y="7520175"/>
                  </a:cubicBezTo>
                  <a:lnTo>
                    <a:pt x="4024392" y="7560603"/>
                  </a:lnTo>
                  <a:lnTo>
                    <a:pt x="31484" y="7560603"/>
                  </a:lnTo>
                  <a:lnTo>
                    <a:pt x="31484" y="7560139"/>
                  </a:lnTo>
                  <a:lnTo>
                    <a:pt x="0" y="7560139"/>
                  </a:lnTo>
                  <a:lnTo>
                    <a:pt x="0" y="0"/>
                  </a:lnTo>
                  <a:close/>
                </a:path>
              </a:pathLst>
            </a:custGeom>
            <a:solidFill>
              <a:schemeClr val="bg2"/>
            </a:solid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100" err="1">
                <a:solidFill>
                  <a:schemeClr val="bg2"/>
                </a:solidFill>
              </a:endParaRPr>
            </a:p>
          </p:txBody>
        </p:sp>
      </p:grpSp>
      <p:sp>
        <p:nvSpPr>
          <p:cNvPr id="7" name="Title 6">
            <a:extLst>
              <a:ext uri="{FF2B5EF4-FFF2-40B4-BE49-F238E27FC236}">
                <a16:creationId xmlns:a16="http://schemas.microsoft.com/office/drawing/2014/main" id="{53167C0A-5F01-97DD-15E1-6A3D2A65E7F4}"/>
              </a:ext>
            </a:extLst>
          </p:cNvPr>
          <p:cNvSpPr>
            <a:spLocks noGrp="1"/>
          </p:cNvSpPr>
          <p:nvPr>
            <p:ph type="title" idx="4294967295"/>
          </p:nvPr>
        </p:nvSpPr>
        <p:spPr>
          <a:xfrm>
            <a:off x="3899500" y="340557"/>
            <a:ext cx="4774600" cy="853528"/>
          </a:xfrm>
          <a:prstGeom prst="rect">
            <a:avLst/>
          </a:prstGeom>
          <a:solidFill>
            <a:srgbClr val="FFFFFF">
              <a:alpha val="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5720" rIns="0" bIns="45720" numCol="1" spcCol="0" rtlCol="0" fromWordArt="0" anchor="t" anchorCtr="0" forceAA="0" compatLnSpc="1">
            <a:prstTxWarp prst="textNoShape">
              <a:avLst/>
            </a:prstTxWarp>
            <a:noAutofit/>
          </a:bodyPr>
          <a:lstStyle/>
          <a:p>
            <a:pPr marL="0" marR="0" lvl="0" indent="0" algn="l" defTabSz="914349" rtl="0" eaLnBrk="1" fontAlgn="auto" latinLnBrk="0" hangingPunct="1">
              <a:lnSpc>
                <a:spcPts val="2200"/>
              </a:lnSpc>
              <a:spcBef>
                <a:spcPts val="0"/>
              </a:spcBef>
              <a:spcAft>
                <a:spcPts val="600"/>
              </a:spcAft>
              <a:buClrTx/>
              <a:buSzTx/>
              <a:buFontTx/>
              <a:buNone/>
              <a:tabLst/>
              <a:defRPr/>
            </a:pPr>
            <a:r>
              <a:rPr kumimoji="0" lang="en-AU" sz="1800" b="0" i="0" u="none" strike="noStrike" kern="1200" cap="none" spc="0" normalizeH="0" baseline="0" noProof="0" dirty="0">
                <a:ln>
                  <a:noFill/>
                </a:ln>
                <a:solidFill>
                  <a:schemeClr val="bg2"/>
                </a:solidFill>
                <a:effectLst/>
                <a:uLnTx/>
                <a:uFillTx/>
                <a:latin typeface="+mj-lt"/>
                <a:ea typeface="Segoe UI" panose="020B0502040204020203" pitchFamily="34" charset="0"/>
                <a:cs typeface="Segoe UI" panose="020B0502040204020203" pitchFamily="34" charset="0"/>
              </a:rPr>
              <a:t>To date hub offices have been established in </a:t>
            </a:r>
            <a:br>
              <a:rPr kumimoji="0" lang="en-AU" sz="1800" b="0" i="0" u="none" strike="noStrike" kern="1200" cap="none" spc="0" normalizeH="0" baseline="0" noProof="0" dirty="0">
                <a:ln>
                  <a:noFill/>
                </a:ln>
                <a:solidFill>
                  <a:schemeClr val="bg2"/>
                </a:solidFill>
                <a:effectLst/>
                <a:uLnTx/>
                <a:uFillTx/>
                <a:latin typeface="+mj-lt"/>
                <a:ea typeface="Segoe UI" panose="020B0502040204020203" pitchFamily="34" charset="0"/>
                <a:cs typeface="Segoe UI" panose="020B0502040204020203" pitchFamily="34" charset="0"/>
              </a:rPr>
            </a:br>
            <a:r>
              <a:rPr kumimoji="0" lang="en-AU" sz="1800" b="0" i="0" u="none" strike="noStrike" kern="1200" cap="none" spc="0" normalizeH="0" baseline="0" noProof="0" dirty="0">
                <a:ln>
                  <a:noFill/>
                </a:ln>
                <a:solidFill>
                  <a:schemeClr val="bg2"/>
                </a:solidFill>
                <a:effectLst/>
                <a:uLnTx/>
                <a:uFillTx/>
                <a:latin typeface="+mj-lt"/>
                <a:ea typeface="Segoe UI" panose="020B0502040204020203" pitchFamily="34" charset="0"/>
                <a:cs typeface="Segoe UI" panose="020B0502040204020203" pitchFamily="34" charset="0"/>
              </a:rPr>
              <a:t>Perth, Western Sydney, Adelaide and Darwin </a:t>
            </a:r>
            <a:br>
              <a:rPr kumimoji="0" lang="en-AU" sz="1800" b="0" i="0" u="none" strike="noStrike" kern="1200" cap="none" spc="0" normalizeH="0" baseline="0" noProof="0" dirty="0">
                <a:ln>
                  <a:noFill/>
                </a:ln>
                <a:solidFill>
                  <a:schemeClr val="bg2"/>
                </a:solidFill>
                <a:effectLst/>
                <a:uLnTx/>
                <a:uFillTx/>
                <a:latin typeface="+mj-lt"/>
                <a:ea typeface="Segoe UI" panose="020B0502040204020203" pitchFamily="34" charset="0"/>
                <a:cs typeface="Segoe UI" panose="020B0502040204020203" pitchFamily="34" charset="0"/>
              </a:rPr>
            </a:br>
            <a:r>
              <a:rPr kumimoji="0" lang="en-AU" sz="1800" b="0" i="0" u="none" strike="noStrike" kern="1200" cap="none" spc="0" normalizeH="0" baseline="0" noProof="0" dirty="0">
                <a:ln>
                  <a:noFill/>
                </a:ln>
                <a:solidFill>
                  <a:schemeClr val="bg2"/>
                </a:solidFill>
                <a:effectLst/>
                <a:uLnTx/>
                <a:uFillTx/>
                <a:latin typeface="+mj-lt"/>
                <a:ea typeface="Segoe UI" panose="020B0502040204020203" pitchFamily="34" charset="0"/>
                <a:cs typeface="Segoe UI" panose="020B0502040204020203" pitchFamily="34" charset="0"/>
              </a:rPr>
              <a:t>and Alice Springs in the Northern Territory.</a:t>
            </a:r>
            <a:endParaRPr kumimoji="0" lang="en-AU" sz="1800" b="0" i="0" u="none" strike="noStrike" kern="1200" cap="none" spc="0" normalizeH="0" baseline="0" noProof="0" dirty="0">
              <a:ln>
                <a:noFill/>
              </a:ln>
              <a:solidFill>
                <a:schemeClr val="bg2"/>
              </a:solidFill>
              <a:effectLst/>
              <a:uLnTx/>
              <a:uFillTx/>
              <a:latin typeface="+mj-lt"/>
              <a:ea typeface="Segoe UI" panose="020B0502040204020203"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A915E713-713D-A81C-0889-DD478001BDAD}"/>
              </a:ext>
            </a:extLst>
          </p:cNvPr>
          <p:cNvSpPr/>
          <p:nvPr/>
        </p:nvSpPr>
        <p:spPr>
          <a:xfrm>
            <a:off x="3899500" y="1227446"/>
            <a:ext cx="4492960" cy="471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Ins="0" rtlCol="0" anchor="ctr"/>
          <a:lstStyle/>
          <a:p>
            <a:pPr>
              <a:lnSpc>
                <a:spcPct val="107000"/>
              </a:lnSpc>
              <a:spcAft>
                <a:spcPts val="600"/>
              </a:spcAft>
            </a:pPr>
            <a:r>
              <a:rPr lang="en-AU" sz="1050" i="1">
                <a:solidFill>
                  <a:schemeClr val="bg2"/>
                </a:solidFill>
                <a:effectLst/>
                <a:ea typeface="Segoe UI" panose="020B0502040204020203" pitchFamily="34" charset="0"/>
                <a:cs typeface="Segoe UI Light" panose="020B0502040204020203" pitchFamily="34" charset="0"/>
              </a:rPr>
              <a:t>The hubs are working to increase their regional presence to support more First Nations people based in regional areas.</a:t>
            </a:r>
          </a:p>
        </p:txBody>
      </p:sp>
      <p:sp>
        <p:nvSpPr>
          <p:cNvPr id="9" name="Rectangle 8">
            <a:extLst>
              <a:ext uri="{FF2B5EF4-FFF2-40B4-BE49-F238E27FC236}">
                <a16:creationId xmlns:a16="http://schemas.microsoft.com/office/drawing/2014/main" id="{B446A4F2-8162-2BF8-E3CF-7922B52F0962}"/>
              </a:ext>
            </a:extLst>
          </p:cNvPr>
          <p:cNvSpPr/>
          <p:nvPr/>
        </p:nvSpPr>
        <p:spPr>
          <a:xfrm>
            <a:off x="6639228" y="5822718"/>
            <a:ext cx="3429928" cy="1416072"/>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600"/>
              </a:spcAft>
            </a:pPr>
            <a:r>
              <a:rPr lang="en-AU" sz="1200" b="1" dirty="0">
                <a:ln w="3175">
                  <a:noFill/>
                </a:ln>
                <a:solidFill>
                  <a:schemeClr val="accent2"/>
                </a:solidFill>
                <a:latin typeface="Segoe Print" panose="02000600000000000000" pitchFamily="2" charset="0"/>
              </a:rPr>
              <a:t>The Circle</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ocated in Adelaide, on Kaurna Country</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Operated by the South Australian Government and co-funded by the Australian Government</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aunched in 2021</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343 total hub clients as at November 2024</a:t>
            </a:r>
          </a:p>
        </p:txBody>
      </p:sp>
      <p:sp>
        <p:nvSpPr>
          <p:cNvPr id="10" name="Rectangle 9">
            <a:extLst>
              <a:ext uri="{FF2B5EF4-FFF2-40B4-BE49-F238E27FC236}">
                <a16:creationId xmlns:a16="http://schemas.microsoft.com/office/drawing/2014/main" id="{D3032857-AD08-1215-8B89-1DB9D5A5BF93}"/>
              </a:ext>
            </a:extLst>
          </p:cNvPr>
          <p:cNvSpPr/>
          <p:nvPr/>
        </p:nvSpPr>
        <p:spPr>
          <a:xfrm>
            <a:off x="3899500" y="1995004"/>
            <a:ext cx="2874804" cy="183010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AU" sz="1200" b="1" dirty="0">
                <a:ln w="0">
                  <a:noFill/>
                </a:ln>
                <a:solidFill>
                  <a:schemeClr val="accent2"/>
                </a:solidFill>
                <a:latin typeface="Segoe Print" panose="02000600000000000000" pitchFamily="2" charset="0"/>
              </a:rPr>
              <a:t>Northern Territory Indigenous Business and Employment Hub sites</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ocated in Darwin on Larrakia Country and Alice Springs on Arrernte Country</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Operated by the Northern Territory Indigenous Business Network</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aunched in 2023</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128 total hub clients </a:t>
            </a:r>
          </a:p>
          <a:p>
            <a:pPr marL="171450" indent="-171450">
              <a:spcAft>
                <a:spcPts val="600"/>
              </a:spcAft>
              <a:buFont typeface="Arial" panose="020B0604020202020204" pitchFamily="34" charset="0"/>
              <a:buChar char="•"/>
            </a:pPr>
            <a:endParaRPr lang="en-AU" sz="1000" dirty="0">
              <a:solidFill>
                <a:schemeClr val="bg2">
                  <a:lumMod val="100000"/>
                </a:schemeClr>
              </a:solidFill>
              <a:cs typeface="Segoe UI Light" panose="020B0502040204020203" pitchFamily="34" charset="0"/>
            </a:endParaRPr>
          </a:p>
        </p:txBody>
      </p:sp>
      <p:sp>
        <p:nvSpPr>
          <p:cNvPr id="50" name="TextBox 49">
            <a:extLst>
              <a:ext uri="{FF2B5EF4-FFF2-40B4-BE49-F238E27FC236}">
                <a16:creationId xmlns:a16="http://schemas.microsoft.com/office/drawing/2014/main" id="{27D1A806-561E-72F5-DB4F-26EB81E87967}"/>
              </a:ext>
            </a:extLst>
          </p:cNvPr>
          <p:cNvSpPr txBox="1"/>
          <p:nvPr/>
        </p:nvSpPr>
        <p:spPr>
          <a:xfrm>
            <a:off x="4024970" y="3826865"/>
            <a:ext cx="1480450" cy="253916"/>
          </a:xfrm>
          <a:prstGeom prst="rect">
            <a:avLst/>
          </a:prstGeom>
          <a:noFill/>
        </p:spPr>
        <p:txBody>
          <a:bodyPr wrap="square">
            <a:spAutoFit/>
          </a:bodyPr>
          <a:lstStyle/>
          <a:p>
            <a:pPr>
              <a:spcAft>
                <a:spcPts val="600"/>
              </a:spcAft>
            </a:pPr>
            <a:r>
              <a:rPr lang="en-AU" sz="1050">
                <a:solidFill>
                  <a:schemeClr val="bg2">
                    <a:lumMod val="100000"/>
                  </a:schemeClr>
                </a:solidFill>
                <a:cs typeface="Segoe UI Light" panose="020B0502040204020203" pitchFamily="34" charset="0"/>
              </a:rPr>
              <a:t>as at November 2024</a:t>
            </a:r>
          </a:p>
        </p:txBody>
      </p:sp>
      <p:sp>
        <p:nvSpPr>
          <p:cNvPr id="11" name="Rectangle 10">
            <a:extLst>
              <a:ext uri="{FF2B5EF4-FFF2-40B4-BE49-F238E27FC236}">
                <a16:creationId xmlns:a16="http://schemas.microsoft.com/office/drawing/2014/main" id="{FBD3ED38-F5D8-AB08-E402-A01E54002F09}"/>
              </a:ext>
            </a:extLst>
          </p:cNvPr>
          <p:cNvSpPr/>
          <p:nvPr/>
        </p:nvSpPr>
        <p:spPr>
          <a:xfrm>
            <a:off x="3899500" y="5054215"/>
            <a:ext cx="2550214" cy="114714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AU" sz="1200" b="1" dirty="0" err="1">
                <a:ln w="3175">
                  <a:noFill/>
                </a:ln>
                <a:solidFill>
                  <a:schemeClr val="accent2"/>
                </a:solidFill>
                <a:latin typeface="Segoe Print" panose="02000600000000000000" pitchFamily="2" charset="0"/>
              </a:rPr>
              <a:t>Waalitj</a:t>
            </a:r>
            <a:r>
              <a:rPr lang="en-AU" sz="1200" b="1" dirty="0">
                <a:ln w="3175">
                  <a:noFill/>
                </a:ln>
                <a:solidFill>
                  <a:schemeClr val="accent2"/>
                </a:solidFill>
                <a:latin typeface="Segoe Print" panose="02000600000000000000" pitchFamily="2" charset="0"/>
              </a:rPr>
              <a:t> Hub</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ocated in Perth on Noongar Country</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Operated by the </a:t>
            </a:r>
            <a:r>
              <a:rPr lang="en-AU" sz="1050" dirty="0" err="1">
                <a:solidFill>
                  <a:schemeClr val="bg2">
                    <a:lumMod val="100000"/>
                  </a:schemeClr>
                </a:solidFill>
                <a:cs typeface="Segoe UI Light" panose="020B0502040204020203" pitchFamily="34" charset="0"/>
              </a:rPr>
              <a:t>Waalitj</a:t>
            </a:r>
            <a:r>
              <a:rPr lang="en-AU" sz="1050" dirty="0">
                <a:solidFill>
                  <a:schemeClr val="bg2">
                    <a:lumMod val="100000"/>
                  </a:schemeClr>
                </a:solidFill>
                <a:cs typeface="Segoe UI Light" panose="020B0502040204020203" pitchFamily="34" charset="0"/>
              </a:rPr>
              <a:t> Foundation</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aunched in 2020</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571 total hub clients as at November 2024</a:t>
            </a:r>
          </a:p>
        </p:txBody>
      </p:sp>
      <p:sp>
        <p:nvSpPr>
          <p:cNvPr id="12" name="Rectangle 11">
            <a:extLst>
              <a:ext uri="{FF2B5EF4-FFF2-40B4-BE49-F238E27FC236}">
                <a16:creationId xmlns:a16="http://schemas.microsoft.com/office/drawing/2014/main" id="{F2D4FC63-A9DC-79A1-32CE-CB434DC074FC}"/>
              </a:ext>
            </a:extLst>
          </p:cNvPr>
          <p:cNvSpPr/>
          <p:nvPr/>
        </p:nvSpPr>
        <p:spPr>
          <a:xfrm>
            <a:off x="8050028" y="2395733"/>
            <a:ext cx="2444806" cy="1516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spcAft>
                <a:spcPts val="600"/>
              </a:spcAft>
            </a:pPr>
            <a:r>
              <a:rPr lang="en-AU" sz="1200" b="1" dirty="0">
                <a:ln w="3175">
                  <a:noFill/>
                </a:ln>
                <a:solidFill>
                  <a:schemeClr val="accent2"/>
                </a:solidFill>
                <a:latin typeface="Segoe Print" panose="02000600000000000000" pitchFamily="2" charset="0"/>
              </a:rPr>
              <a:t>Yarpa Hub</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ocated in Western Sydney on </a:t>
            </a:r>
            <a:r>
              <a:rPr lang="en-AU" sz="1050" dirty="0" err="1">
                <a:solidFill>
                  <a:schemeClr val="bg2">
                    <a:lumMod val="100000"/>
                  </a:schemeClr>
                </a:solidFill>
                <a:cs typeface="Segoe UI Light" panose="020B0502040204020203" pitchFamily="34" charset="0"/>
              </a:rPr>
              <a:t>Darug</a:t>
            </a:r>
            <a:r>
              <a:rPr lang="en-AU" sz="1050" dirty="0">
                <a:solidFill>
                  <a:schemeClr val="bg2">
                    <a:lumMod val="100000"/>
                  </a:schemeClr>
                </a:solidFill>
                <a:cs typeface="Segoe UI Light" panose="020B0502040204020203" pitchFamily="34" charset="0"/>
              </a:rPr>
              <a:t> and Tharawal Country</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Operated by the NSW Aboriginal Land Council </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Launched in 2018</a:t>
            </a:r>
          </a:p>
          <a:p>
            <a:pPr marL="108000" indent="-108000">
              <a:spcAft>
                <a:spcPts val="600"/>
              </a:spcAft>
              <a:buFont typeface="Arial" panose="020B0604020202020204" pitchFamily="34" charset="0"/>
              <a:buChar char="•"/>
            </a:pPr>
            <a:r>
              <a:rPr lang="en-AU" sz="1050" dirty="0">
                <a:solidFill>
                  <a:schemeClr val="bg2">
                    <a:lumMod val="100000"/>
                  </a:schemeClr>
                </a:solidFill>
                <a:cs typeface="Segoe UI Light" panose="020B0502040204020203" pitchFamily="34" charset="0"/>
              </a:rPr>
              <a:t>889 total hub clients as at November 2024</a:t>
            </a:r>
          </a:p>
        </p:txBody>
      </p:sp>
      <p:grpSp>
        <p:nvGrpSpPr>
          <p:cNvPr id="13" name="Group 12">
            <a:extLst>
              <a:ext uri="{FF2B5EF4-FFF2-40B4-BE49-F238E27FC236}">
                <a16:creationId xmlns:a16="http://schemas.microsoft.com/office/drawing/2014/main" id="{AC530643-7594-F8B1-04AA-9529417BF50B}"/>
              </a:ext>
              <a:ext uri="{C183D7F6-B498-43B3-948B-1728B52AA6E4}">
                <adec:decorative xmlns:adec="http://schemas.microsoft.com/office/drawing/2017/decorative" val="1"/>
              </a:ext>
            </a:extLst>
          </p:cNvPr>
          <p:cNvGrpSpPr>
            <a:grpSpLocks noChangeAspect="1"/>
          </p:cNvGrpSpPr>
          <p:nvPr/>
        </p:nvGrpSpPr>
        <p:grpSpPr>
          <a:xfrm>
            <a:off x="5696927" y="3214236"/>
            <a:ext cx="2695532" cy="2557126"/>
            <a:chOff x="1690643" y="476966"/>
            <a:chExt cx="6376988" cy="5673723"/>
          </a:xfrm>
          <a:solidFill>
            <a:schemeClr val="bg1">
              <a:alpha val="80000"/>
            </a:schemeClr>
          </a:solidFill>
        </p:grpSpPr>
        <p:sp>
          <p:nvSpPr>
            <p:cNvPr id="14" name="Freeform 6">
              <a:extLst>
                <a:ext uri="{FF2B5EF4-FFF2-40B4-BE49-F238E27FC236}">
                  <a16:creationId xmlns:a16="http://schemas.microsoft.com/office/drawing/2014/main" id="{20627446-264B-726F-0177-13E0091A9AB5}"/>
                </a:ext>
              </a:extLst>
            </p:cNvPr>
            <p:cNvSpPr>
              <a:spLocks/>
            </p:cNvSpPr>
            <p:nvPr/>
          </p:nvSpPr>
          <p:spPr bwMode="auto">
            <a:xfrm>
              <a:off x="6280102" y="5464888"/>
              <a:ext cx="655638" cy="685801"/>
            </a:xfrm>
            <a:custGeom>
              <a:avLst/>
              <a:gdLst>
                <a:gd name="T0" fmla="*/ 166 w 175"/>
                <a:gd name="T1" fmla="*/ 32 h 183"/>
                <a:gd name="T2" fmla="*/ 134 w 175"/>
                <a:gd name="T3" fmla="*/ 32 h 183"/>
                <a:gd name="T4" fmla="*/ 129 w 175"/>
                <a:gd name="T5" fmla="*/ 36 h 183"/>
                <a:gd name="T6" fmla="*/ 120 w 175"/>
                <a:gd name="T7" fmla="*/ 41 h 183"/>
                <a:gd name="T8" fmla="*/ 97 w 175"/>
                <a:gd name="T9" fmla="*/ 36 h 183"/>
                <a:gd name="T10" fmla="*/ 37 w 175"/>
                <a:gd name="T11" fmla="*/ 13 h 183"/>
                <a:gd name="T12" fmla="*/ 14 w 175"/>
                <a:gd name="T13" fmla="*/ 0 h 183"/>
                <a:gd name="T14" fmla="*/ 5 w 175"/>
                <a:gd name="T15" fmla="*/ 4 h 183"/>
                <a:gd name="T16" fmla="*/ 5 w 175"/>
                <a:gd name="T17" fmla="*/ 45 h 183"/>
                <a:gd name="T18" fmla="*/ 10 w 175"/>
                <a:gd name="T19" fmla="*/ 55 h 183"/>
                <a:gd name="T20" fmla="*/ 19 w 175"/>
                <a:gd name="T21" fmla="*/ 73 h 183"/>
                <a:gd name="T22" fmla="*/ 28 w 175"/>
                <a:gd name="T23" fmla="*/ 87 h 183"/>
                <a:gd name="T24" fmla="*/ 28 w 175"/>
                <a:gd name="T25" fmla="*/ 100 h 183"/>
                <a:gd name="T26" fmla="*/ 28 w 175"/>
                <a:gd name="T27" fmla="*/ 119 h 183"/>
                <a:gd name="T28" fmla="*/ 42 w 175"/>
                <a:gd name="T29" fmla="*/ 146 h 183"/>
                <a:gd name="T30" fmla="*/ 60 w 175"/>
                <a:gd name="T31" fmla="*/ 174 h 183"/>
                <a:gd name="T32" fmla="*/ 69 w 175"/>
                <a:gd name="T33" fmla="*/ 178 h 183"/>
                <a:gd name="T34" fmla="*/ 97 w 175"/>
                <a:gd name="T35" fmla="*/ 174 h 183"/>
                <a:gd name="T36" fmla="*/ 101 w 175"/>
                <a:gd name="T37" fmla="*/ 160 h 183"/>
                <a:gd name="T38" fmla="*/ 106 w 175"/>
                <a:gd name="T39" fmla="*/ 156 h 183"/>
                <a:gd name="T40" fmla="*/ 115 w 175"/>
                <a:gd name="T41" fmla="*/ 146 h 183"/>
                <a:gd name="T42" fmla="*/ 124 w 175"/>
                <a:gd name="T43" fmla="*/ 146 h 183"/>
                <a:gd name="T44" fmla="*/ 124 w 175"/>
                <a:gd name="T45" fmla="*/ 151 h 183"/>
                <a:gd name="T46" fmla="*/ 138 w 175"/>
                <a:gd name="T47" fmla="*/ 156 h 183"/>
                <a:gd name="T48" fmla="*/ 143 w 175"/>
                <a:gd name="T49" fmla="*/ 151 h 183"/>
                <a:gd name="T50" fmla="*/ 143 w 175"/>
                <a:gd name="T51" fmla="*/ 123 h 183"/>
                <a:gd name="T52" fmla="*/ 147 w 175"/>
                <a:gd name="T53" fmla="*/ 110 h 183"/>
                <a:gd name="T54" fmla="*/ 157 w 175"/>
                <a:gd name="T55" fmla="*/ 110 h 183"/>
                <a:gd name="T56" fmla="*/ 161 w 175"/>
                <a:gd name="T57" fmla="*/ 105 h 183"/>
                <a:gd name="T58" fmla="*/ 161 w 175"/>
                <a:gd name="T59" fmla="*/ 87 h 183"/>
                <a:gd name="T60" fmla="*/ 170 w 175"/>
                <a:gd name="T61" fmla="*/ 50 h 183"/>
                <a:gd name="T62" fmla="*/ 175 w 175"/>
                <a:gd name="T63" fmla="*/ 45 h 183"/>
                <a:gd name="T64" fmla="*/ 166 w 175"/>
                <a:gd name="T65" fmla="*/ 3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183">
                  <a:moveTo>
                    <a:pt x="166" y="32"/>
                  </a:moveTo>
                  <a:cubicBezTo>
                    <a:pt x="157" y="27"/>
                    <a:pt x="143" y="27"/>
                    <a:pt x="134" y="32"/>
                  </a:cubicBezTo>
                  <a:cubicBezTo>
                    <a:pt x="129" y="32"/>
                    <a:pt x="129" y="32"/>
                    <a:pt x="129" y="36"/>
                  </a:cubicBezTo>
                  <a:cubicBezTo>
                    <a:pt x="129" y="41"/>
                    <a:pt x="124" y="41"/>
                    <a:pt x="120" y="41"/>
                  </a:cubicBezTo>
                  <a:cubicBezTo>
                    <a:pt x="111" y="41"/>
                    <a:pt x="106" y="41"/>
                    <a:pt x="97" y="36"/>
                  </a:cubicBezTo>
                  <a:cubicBezTo>
                    <a:pt x="78" y="32"/>
                    <a:pt x="55" y="27"/>
                    <a:pt x="37" y="13"/>
                  </a:cubicBezTo>
                  <a:cubicBezTo>
                    <a:pt x="32" y="4"/>
                    <a:pt x="23" y="0"/>
                    <a:pt x="14" y="0"/>
                  </a:cubicBezTo>
                  <a:cubicBezTo>
                    <a:pt x="10" y="0"/>
                    <a:pt x="10" y="0"/>
                    <a:pt x="5" y="4"/>
                  </a:cubicBezTo>
                  <a:cubicBezTo>
                    <a:pt x="0" y="18"/>
                    <a:pt x="0" y="32"/>
                    <a:pt x="5" y="45"/>
                  </a:cubicBezTo>
                  <a:cubicBezTo>
                    <a:pt x="5" y="45"/>
                    <a:pt x="10" y="50"/>
                    <a:pt x="10" y="55"/>
                  </a:cubicBezTo>
                  <a:cubicBezTo>
                    <a:pt x="14" y="59"/>
                    <a:pt x="19" y="64"/>
                    <a:pt x="19" y="73"/>
                  </a:cubicBezTo>
                  <a:cubicBezTo>
                    <a:pt x="23" y="78"/>
                    <a:pt x="23" y="82"/>
                    <a:pt x="28" y="87"/>
                  </a:cubicBezTo>
                  <a:cubicBezTo>
                    <a:pt x="32" y="91"/>
                    <a:pt x="32" y="96"/>
                    <a:pt x="28" y="100"/>
                  </a:cubicBezTo>
                  <a:cubicBezTo>
                    <a:pt x="23" y="105"/>
                    <a:pt x="23" y="110"/>
                    <a:pt x="28" y="119"/>
                  </a:cubicBezTo>
                  <a:cubicBezTo>
                    <a:pt x="32" y="128"/>
                    <a:pt x="37" y="137"/>
                    <a:pt x="42" y="146"/>
                  </a:cubicBezTo>
                  <a:cubicBezTo>
                    <a:pt x="46" y="156"/>
                    <a:pt x="55" y="165"/>
                    <a:pt x="60" y="174"/>
                  </a:cubicBezTo>
                  <a:cubicBezTo>
                    <a:pt x="60" y="178"/>
                    <a:pt x="65" y="178"/>
                    <a:pt x="69" y="178"/>
                  </a:cubicBezTo>
                  <a:cubicBezTo>
                    <a:pt x="78" y="183"/>
                    <a:pt x="88" y="178"/>
                    <a:pt x="97" y="174"/>
                  </a:cubicBezTo>
                  <a:cubicBezTo>
                    <a:pt x="101" y="174"/>
                    <a:pt x="101" y="165"/>
                    <a:pt x="101" y="160"/>
                  </a:cubicBezTo>
                  <a:cubicBezTo>
                    <a:pt x="106" y="160"/>
                    <a:pt x="106" y="160"/>
                    <a:pt x="106" y="156"/>
                  </a:cubicBezTo>
                  <a:cubicBezTo>
                    <a:pt x="106" y="151"/>
                    <a:pt x="111" y="151"/>
                    <a:pt x="115" y="146"/>
                  </a:cubicBezTo>
                  <a:cubicBezTo>
                    <a:pt x="120" y="142"/>
                    <a:pt x="120" y="142"/>
                    <a:pt x="124" y="146"/>
                  </a:cubicBezTo>
                  <a:cubicBezTo>
                    <a:pt x="124" y="151"/>
                    <a:pt x="124" y="151"/>
                    <a:pt x="124" y="151"/>
                  </a:cubicBezTo>
                  <a:cubicBezTo>
                    <a:pt x="124" y="156"/>
                    <a:pt x="134" y="156"/>
                    <a:pt x="138" y="156"/>
                  </a:cubicBezTo>
                  <a:cubicBezTo>
                    <a:pt x="143" y="160"/>
                    <a:pt x="143" y="156"/>
                    <a:pt x="143" y="151"/>
                  </a:cubicBezTo>
                  <a:cubicBezTo>
                    <a:pt x="143" y="142"/>
                    <a:pt x="143" y="133"/>
                    <a:pt x="143" y="123"/>
                  </a:cubicBezTo>
                  <a:cubicBezTo>
                    <a:pt x="143" y="119"/>
                    <a:pt x="143" y="114"/>
                    <a:pt x="147" y="110"/>
                  </a:cubicBezTo>
                  <a:cubicBezTo>
                    <a:pt x="152" y="105"/>
                    <a:pt x="152" y="105"/>
                    <a:pt x="157" y="110"/>
                  </a:cubicBezTo>
                  <a:cubicBezTo>
                    <a:pt x="161" y="110"/>
                    <a:pt x="161" y="110"/>
                    <a:pt x="161" y="105"/>
                  </a:cubicBezTo>
                  <a:cubicBezTo>
                    <a:pt x="161" y="100"/>
                    <a:pt x="161" y="96"/>
                    <a:pt x="161" y="87"/>
                  </a:cubicBezTo>
                  <a:cubicBezTo>
                    <a:pt x="161" y="78"/>
                    <a:pt x="161" y="64"/>
                    <a:pt x="170" y="50"/>
                  </a:cubicBezTo>
                  <a:cubicBezTo>
                    <a:pt x="170" y="50"/>
                    <a:pt x="170" y="50"/>
                    <a:pt x="175" y="45"/>
                  </a:cubicBezTo>
                  <a:cubicBezTo>
                    <a:pt x="175" y="41"/>
                    <a:pt x="175" y="32"/>
                    <a:pt x="166" y="32"/>
                  </a:cubicBezTo>
                  <a:close/>
                </a:path>
              </a:pathLst>
            </a:custGeom>
            <a:solidFill>
              <a:schemeClr val="bg1">
                <a:alpha val="63000"/>
              </a:schemeClr>
            </a:solidFill>
            <a:ln w="15875" cap="rnd">
              <a:noFill/>
              <a:prstDash val="solid"/>
              <a:round/>
              <a:headEnd/>
              <a:tailEnd/>
            </a:ln>
            <a:extLst>
              <a:ext uri="{91240B29-F687-4F45-9708-019B960494DF}">
                <a14:hiddenLine xmlns:a14="http://schemas.microsoft.com/office/drawing/2010/main" w="15875" cap="rnd">
                  <a:solidFill>
                    <a:srgbClr val="FFFFFF"/>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7">
              <a:extLst>
                <a:ext uri="{FF2B5EF4-FFF2-40B4-BE49-F238E27FC236}">
                  <a16:creationId xmlns:a16="http://schemas.microsoft.com/office/drawing/2014/main" id="{E1758FC4-B831-B486-68EC-DD6082B8B71F}"/>
                </a:ext>
              </a:extLst>
            </p:cNvPr>
            <p:cNvSpPr>
              <a:spLocks/>
            </p:cNvSpPr>
            <p:nvPr/>
          </p:nvSpPr>
          <p:spPr bwMode="auto">
            <a:xfrm>
              <a:off x="1690643" y="476966"/>
              <a:ext cx="6376988" cy="4811713"/>
            </a:xfrm>
            <a:custGeom>
              <a:avLst/>
              <a:gdLst>
                <a:gd name="T0" fmla="*/ 1655 w 1701"/>
                <a:gd name="T1" fmla="*/ 628 h 1283"/>
                <a:gd name="T2" fmla="*/ 1582 w 1701"/>
                <a:gd name="T3" fmla="*/ 541 h 1283"/>
                <a:gd name="T4" fmla="*/ 1531 w 1701"/>
                <a:gd name="T5" fmla="*/ 495 h 1283"/>
                <a:gd name="T6" fmla="*/ 1467 w 1701"/>
                <a:gd name="T7" fmla="*/ 408 h 1283"/>
                <a:gd name="T8" fmla="*/ 1412 w 1701"/>
                <a:gd name="T9" fmla="*/ 316 h 1283"/>
                <a:gd name="T10" fmla="*/ 1339 w 1701"/>
                <a:gd name="T11" fmla="*/ 170 h 1283"/>
                <a:gd name="T12" fmla="*/ 1316 w 1701"/>
                <a:gd name="T13" fmla="*/ 101 h 1283"/>
                <a:gd name="T14" fmla="*/ 1238 w 1701"/>
                <a:gd name="T15" fmla="*/ 23 h 1283"/>
                <a:gd name="T16" fmla="*/ 1206 w 1701"/>
                <a:gd name="T17" fmla="*/ 174 h 1283"/>
                <a:gd name="T18" fmla="*/ 1206 w 1701"/>
                <a:gd name="T19" fmla="*/ 243 h 1283"/>
                <a:gd name="T20" fmla="*/ 1165 w 1701"/>
                <a:gd name="T21" fmla="*/ 312 h 1283"/>
                <a:gd name="T22" fmla="*/ 1078 w 1701"/>
                <a:gd name="T23" fmla="*/ 275 h 1283"/>
                <a:gd name="T24" fmla="*/ 1027 w 1701"/>
                <a:gd name="T25" fmla="*/ 243 h 1283"/>
                <a:gd name="T26" fmla="*/ 968 w 1701"/>
                <a:gd name="T27" fmla="*/ 202 h 1283"/>
                <a:gd name="T28" fmla="*/ 981 w 1701"/>
                <a:gd name="T29" fmla="*/ 147 h 1283"/>
                <a:gd name="T30" fmla="*/ 1009 w 1701"/>
                <a:gd name="T31" fmla="*/ 78 h 1283"/>
                <a:gd name="T32" fmla="*/ 926 w 1701"/>
                <a:gd name="T33" fmla="*/ 55 h 1283"/>
                <a:gd name="T34" fmla="*/ 857 w 1701"/>
                <a:gd name="T35" fmla="*/ 32 h 1283"/>
                <a:gd name="T36" fmla="*/ 780 w 1701"/>
                <a:gd name="T37" fmla="*/ 23 h 1283"/>
                <a:gd name="T38" fmla="*/ 798 w 1701"/>
                <a:gd name="T39" fmla="*/ 64 h 1283"/>
                <a:gd name="T40" fmla="*/ 706 w 1701"/>
                <a:gd name="T41" fmla="*/ 87 h 1283"/>
                <a:gd name="T42" fmla="*/ 679 w 1701"/>
                <a:gd name="T43" fmla="*/ 156 h 1283"/>
                <a:gd name="T44" fmla="*/ 656 w 1701"/>
                <a:gd name="T45" fmla="*/ 183 h 1283"/>
                <a:gd name="T46" fmla="*/ 573 w 1701"/>
                <a:gd name="T47" fmla="*/ 138 h 1283"/>
                <a:gd name="T48" fmla="*/ 482 w 1701"/>
                <a:gd name="T49" fmla="*/ 188 h 1283"/>
                <a:gd name="T50" fmla="*/ 431 w 1701"/>
                <a:gd name="T51" fmla="*/ 266 h 1283"/>
                <a:gd name="T52" fmla="*/ 413 w 1701"/>
                <a:gd name="T53" fmla="*/ 302 h 1283"/>
                <a:gd name="T54" fmla="*/ 353 w 1701"/>
                <a:gd name="T55" fmla="*/ 298 h 1283"/>
                <a:gd name="T56" fmla="*/ 326 w 1701"/>
                <a:gd name="T57" fmla="*/ 376 h 1283"/>
                <a:gd name="T58" fmla="*/ 248 w 1701"/>
                <a:gd name="T59" fmla="*/ 422 h 1283"/>
                <a:gd name="T60" fmla="*/ 151 w 1701"/>
                <a:gd name="T61" fmla="*/ 454 h 1283"/>
                <a:gd name="T62" fmla="*/ 64 w 1701"/>
                <a:gd name="T63" fmla="*/ 513 h 1283"/>
                <a:gd name="T64" fmla="*/ 0 w 1701"/>
                <a:gd name="T65" fmla="*/ 564 h 1283"/>
                <a:gd name="T66" fmla="*/ 32 w 1701"/>
                <a:gd name="T67" fmla="*/ 692 h 1283"/>
                <a:gd name="T68" fmla="*/ 28 w 1701"/>
                <a:gd name="T69" fmla="*/ 715 h 1283"/>
                <a:gd name="T70" fmla="*/ 51 w 1701"/>
                <a:gd name="T71" fmla="*/ 797 h 1283"/>
                <a:gd name="T72" fmla="*/ 115 w 1701"/>
                <a:gd name="T73" fmla="*/ 893 h 1283"/>
                <a:gd name="T74" fmla="*/ 151 w 1701"/>
                <a:gd name="T75" fmla="*/ 1035 h 1283"/>
                <a:gd name="T76" fmla="*/ 170 w 1701"/>
                <a:gd name="T77" fmla="*/ 1109 h 1283"/>
                <a:gd name="T78" fmla="*/ 257 w 1701"/>
                <a:gd name="T79" fmla="*/ 1122 h 1283"/>
                <a:gd name="T80" fmla="*/ 339 w 1701"/>
                <a:gd name="T81" fmla="*/ 1054 h 1283"/>
                <a:gd name="T82" fmla="*/ 468 w 1701"/>
                <a:gd name="T83" fmla="*/ 1040 h 1283"/>
                <a:gd name="T84" fmla="*/ 601 w 1701"/>
                <a:gd name="T85" fmla="*/ 971 h 1283"/>
                <a:gd name="T86" fmla="*/ 674 w 1701"/>
                <a:gd name="T87" fmla="*/ 934 h 1283"/>
                <a:gd name="T88" fmla="*/ 752 w 1701"/>
                <a:gd name="T89" fmla="*/ 925 h 1283"/>
                <a:gd name="T90" fmla="*/ 839 w 1701"/>
                <a:gd name="T91" fmla="*/ 948 h 1283"/>
                <a:gd name="T92" fmla="*/ 885 w 1701"/>
                <a:gd name="T93" fmla="*/ 999 h 1283"/>
                <a:gd name="T94" fmla="*/ 931 w 1701"/>
                <a:gd name="T95" fmla="*/ 1076 h 1283"/>
                <a:gd name="T96" fmla="*/ 1000 w 1701"/>
                <a:gd name="T97" fmla="*/ 1017 h 1283"/>
                <a:gd name="T98" fmla="*/ 1004 w 1701"/>
                <a:gd name="T99" fmla="*/ 1031 h 1283"/>
                <a:gd name="T100" fmla="*/ 1009 w 1701"/>
                <a:gd name="T101" fmla="*/ 1090 h 1283"/>
                <a:gd name="T102" fmla="*/ 1036 w 1701"/>
                <a:gd name="T103" fmla="*/ 1086 h 1283"/>
                <a:gd name="T104" fmla="*/ 1082 w 1701"/>
                <a:gd name="T105" fmla="*/ 1168 h 1283"/>
                <a:gd name="T106" fmla="*/ 1169 w 1701"/>
                <a:gd name="T107" fmla="*/ 1232 h 1283"/>
                <a:gd name="T108" fmla="*/ 1265 w 1701"/>
                <a:gd name="T109" fmla="*/ 1223 h 1283"/>
                <a:gd name="T110" fmla="*/ 1288 w 1701"/>
                <a:gd name="T111" fmla="*/ 1260 h 1283"/>
                <a:gd name="T112" fmla="*/ 1357 w 1701"/>
                <a:gd name="T113" fmla="*/ 1269 h 1283"/>
                <a:gd name="T114" fmla="*/ 1463 w 1701"/>
                <a:gd name="T115" fmla="*/ 1228 h 1283"/>
                <a:gd name="T116" fmla="*/ 1499 w 1701"/>
                <a:gd name="T117" fmla="*/ 1136 h 1283"/>
                <a:gd name="T118" fmla="*/ 1550 w 1701"/>
                <a:gd name="T119" fmla="*/ 1054 h 1283"/>
                <a:gd name="T120" fmla="*/ 1596 w 1701"/>
                <a:gd name="T121" fmla="*/ 1017 h 1283"/>
                <a:gd name="T122" fmla="*/ 1678 w 1701"/>
                <a:gd name="T123" fmla="*/ 843 h 1283"/>
                <a:gd name="T124" fmla="*/ 1683 w 1701"/>
                <a:gd name="T125" fmla="*/ 751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1" h="1283">
                  <a:moveTo>
                    <a:pt x="1696" y="705"/>
                  </a:moveTo>
                  <a:cubicBezTo>
                    <a:pt x="1696" y="701"/>
                    <a:pt x="1696" y="701"/>
                    <a:pt x="1696" y="701"/>
                  </a:cubicBezTo>
                  <a:cubicBezTo>
                    <a:pt x="1692" y="696"/>
                    <a:pt x="1692" y="696"/>
                    <a:pt x="1692" y="696"/>
                  </a:cubicBezTo>
                  <a:cubicBezTo>
                    <a:pt x="1687" y="692"/>
                    <a:pt x="1687" y="692"/>
                    <a:pt x="1687" y="692"/>
                  </a:cubicBezTo>
                  <a:cubicBezTo>
                    <a:pt x="1683" y="687"/>
                    <a:pt x="1683" y="687"/>
                    <a:pt x="1683" y="687"/>
                  </a:cubicBezTo>
                  <a:cubicBezTo>
                    <a:pt x="1683" y="683"/>
                    <a:pt x="1683" y="683"/>
                    <a:pt x="1683" y="683"/>
                  </a:cubicBezTo>
                  <a:cubicBezTo>
                    <a:pt x="1678" y="678"/>
                    <a:pt x="1678" y="678"/>
                    <a:pt x="1678" y="678"/>
                  </a:cubicBezTo>
                  <a:cubicBezTo>
                    <a:pt x="1674" y="673"/>
                    <a:pt x="1674" y="673"/>
                    <a:pt x="1674" y="673"/>
                  </a:cubicBezTo>
                  <a:cubicBezTo>
                    <a:pt x="1674" y="669"/>
                    <a:pt x="1674" y="669"/>
                    <a:pt x="1674" y="669"/>
                  </a:cubicBezTo>
                  <a:cubicBezTo>
                    <a:pt x="1669" y="660"/>
                    <a:pt x="1669" y="660"/>
                    <a:pt x="1669" y="660"/>
                  </a:cubicBezTo>
                  <a:cubicBezTo>
                    <a:pt x="1669" y="651"/>
                    <a:pt x="1669" y="651"/>
                    <a:pt x="1669" y="651"/>
                  </a:cubicBezTo>
                  <a:cubicBezTo>
                    <a:pt x="1669" y="646"/>
                    <a:pt x="1669" y="646"/>
                    <a:pt x="1669" y="646"/>
                  </a:cubicBezTo>
                  <a:cubicBezTo>
                    <a:pt x="1664" y="632"/>
                    <a:pt x="1664" y="632"/>
                    <a:pt x="1664" y="632"/>
                  </a:cubicBezTo>
                  <a:cubicBezTo>
                    <a:pt x="1655" y="628"/>
                    <a:pt x="1655" y="628"/>
                    <a:pt x="1655" y="628"/>
                  </a:cubicBezTo>
                  <a:cubicBezTo>
                    <a:pt x="1646" y="618"/>
                    <a:pt x="1646" y="618"/>
                    <a:pt x="1646" y="618"/>
                  </a:cubicBezTo>
                  <a:cubicBezTo>
                    <a:pt x="1637" y="618"/>
                    <a:pt x="1637" y="618"/>
                    <a:pt x="1637" y="618"/>
                  </a:cubicBezTo>
                  <a:cubicBezTo>
                    <a:pt x="1632" y="614"/>
                    <a:pt x="1632" y="614"/>
                    <a:pt x="1632" y="614"/>
                  </a:cubicBezTo>
                  <a:cubicBezTo>
                    <a:pt x="1628" y="614"/>
                    <a:pt x="1628" y="614"/>
                    <a:pt x="1628" y="614"/>
                  </a:cubicBezTo>
                  <a:cubicBezTo>
                    <a:pt x="1618" y="609"/>
                    <a:pt x="1618" y="609"/>
                    <a:pt x="1618" y="609"/>
                  </a:cubicBezTo>
                  <a:cubicBezTo>
                    <a:pt x="1614" y="605"/>
                    <a:pt x="1614" y="605"/>
                    <a:pt x="1614" y="605"/>
                  </a:cubicBezTo>
                  <a:cubicBezTo>
                    <a:pt x="1614" y="600"/>
                    <a:pt x="1614" y="600"/>
                    <a:pt x="1614" y="600"/>
                  </a:cubicBezTo>
                  <a:cubicBezTo>
                    <a:pt x="1609" y="591"/>
                    <a:pt x="1609" y="591"/>
                    <a:pt x="1609" y="591"/>
                  </a:cubicBezTo>
                  <a:cubicBezTo>
                    <a:pt x="1605" y="582"/>
                    <a:pt x="1605" y="582"/>
                    <a:pt x="1605" y="582"/>
                  </a:cubicBezTo>
                  <a:cubicBezTo>
                    <a:pt x="1605" y="573"/>
                    <a:pt x="1605" y="573"/>
                    <a:pt x="1605" y="573"/>
                  </a:cubicBezTo>
                  <a:cubicBezTo>
                    <a:pt x="1600" y="564"/>
                    <a:pt x="1600" y="564"/>
                    <a:pt x="1600" y="564"/>
                  </a:cubicBezTo>
                  <a:cubicBezTo>
                    <a:pt x="1596" y="554"/>
                    <a:pt x="1596" y="554"/>
                    <a:pt x="1596" y="554"/>
                  </a:cubicBezTo>
                  <a:cubicBezTo>
                    <a:pt x="1591" y="545"/>
                    <a:pt x="1591" y="545"/>
                    <a:pt x="1591" y="545"/>
                  </a:cubicBezTo>
                  <a:cubicBezTo>
                    <a:pt x="1582" y="541"/>
                    <a:pt x="1582" y="541"/>
                    <a:pt x="1582" y="541"/>
                  </a:cubicBezTo>
                  <a:cubicBezTo>
                    <a:pt x="1573" y="536"/>
                    <a:pt x="1573" y="536"/>
                    <a:pt x="1573" y="536"/>
                  </a:cubicBezTo>
                  <a:cubicBezTo>
                    <a:pt x="1568" y="536"/>
                    <a:pt x="1568" y="536"/>
                    <a:pt x="1568" y="536"/>
                  </a:cubicBezTo>
                  <a:cubicBezTo>
                    <a:pt x="1563" y="536"/>
                    <a:pt x="1563" y="536"/>
                    <a:pt x="1563" y="536"/>
                  </a:cubicBezTo>
                  <a:cubicBezTo>
                    <a:pt x="1563" y="541"/>
                    <a:pt x="1563" y="541"/>
                    <a:pt x="1563" y="541"/>
                  </a:cubicBezTo>
                  <a:cubicBezTo>
                    <a:pt x="1559" y="545"/>
                    <a:pt x="1559" y="545"/>
                    <a:pt x="1559" y="545"/>
                  </a:cubicBezTo>
                  <a:cubicBezTo>
                    <a:pt x="1554" y="550"/>
                    <a:pt x="1554" y="550"/>
                    <a:pt x="1554" y="550"/>
                  </a:cubicBezTo>
                  <a:cubicBezTo>
                    <a:pt x="1554" y="545"/>
                    <a:pt x="1554" y="545"/>
                    <a:pt x="1554" y="545"/>
                  </a:cubicBezTo>
                  <a:cubicBezTo>
                    <a:pt x="1550" y="545"/>
                    <a:pt x="1550" y="545"/>
                    <a:pt x="1550" y="545"/>
                  </a:cubicBezTo>
                  <a:cubicBezTo>
                    <a:pt x="1550" y="541"/>
                    <a:pt x="1550" y="541"/>
                    <a:pt x="1550" y="541"/>
                  </a:cubicBezTo>
                  <a:cubicBezTo>
                    <a:pt x="1550" y="518"/>
                    <a:pt x="1550" y="518"/>
                    <a:pt x="1550" y="518"/>
                  </a:cubicBezTo>
                  <a:cubicBezTo>
                    <a:pt x="1545" y="513"/>
                    <a:pt x="1545" y="513"/>
                    <a:pt x="1545" y="513"/>
                  </a:cubicBezTo>
                  <a:cubicBezTo>
                    <a:pt x="1541" y="504"/>
                    <a:pt x="1541" y="504"/>
                    <a:pt x="1541" y="504"/>
                  </a:cubicBezTo>
                  <a:cubicBezTo>
                    <a:pt x="1536" y="499"/>
                    <a:pt x="1536" y="499"/>
                    <a:pt x="1536" y="499"/>
                  </a:cubicBezTo>
                  <a:cubicBezTo>
                    <a:pt x="1531" y="495"/>
                    <a:pt x="1531" y="495"/>
                    <a:pt x="1531" y="495"/>
                  </a:cubicBezTo>
                  <a:cubicBezTo>
                    <a:pt x="1527" y="490"/>
                    <a:pt x="1527" y="490"/>
                    <a:pt x="1527" y="490"/>
                  </a:cubicBezTo>
                  <a:cubicBezTo>
                    <a:pt x="1527" y="486"/>
                    <a:pt x="1527" y="486"/>
                    <a:pt x="1527" y="486"/>
                  </a:cubicBezTo>
                  <a:cubicBezTo>
                    <a:pt x="1522" y="481"/>
                    <a:pt x="1522" y="481"/>
                    <a:pt x="1522" y="481"/>
                  </a:cubicBezTo>
                  <a:cubicBezTo>
                    <a:pt x="1518" y="472"/>
                    <a:pt x="1518" y="472"/>
                    <a:pt x="1518" y="472"/>
                  </a:cubicBezTo>
                  <a:cubicBezTo>
                    <a:pt x="1518" y="463"/>
                    <a:pt x="1518" y="463"/>
                    <a:pt x="1518" y="463"/>
                  </a:cubicBezTo>
                  <a:cubicBezTo>
                    <a:pt x="1513" y="458"/>
                    <a:pt x="1513" y="458"/>
                    <a:pt x="1513" y="458"/>
                  </a:cubicBezTo>
                  <a:cubicBezTo>
                    <a:pt x="1513" y="454"/>
                    <a:pt x="1513" y="454"/>
                    <a:pt x="1513" y="454"/>
                  </a:cubicBezTo>
                  <a:cubicBezTo>
                    <a:pt x="1508" y="449"/>
                    <a:pt x="1508" y="449"/>
                    <a:pt x="1508" y="449"/>
                  </a:cubicBezTo>
                  <a:cubicBezTo>
                    <a:pt x="1504" y="449"/>
                    <a:pt x="1504" y="449"/>
                    <a:pt x="1504" y="449"/>
                  </a:cubicBezTo>
                  <a:cubicBezTo>
                    <a:pt x="1504" y="444"/>
                    <a:pt x="1504" y="444"/>
                    <a:pt x="1504" y="444"/>
                  </a:cubicBezTo>
                  <a:cubicBezTo>
                    <a:pt x="1499" y="444"/>
                    <a:pt x="1499" y="444"/>
                    <a:pt x="1499" y="444"/>
                  </a:cubicBezTo>
                  <a:cubicBezTo>
                    <a:pt x="1490" y="440"/>
                    <a:pt x="1490" y="440"/>
                    <a:pt x="1490" y="440"/>
                  </a:cubicBezTo>
                  <a:cubicBezTo>
                    <a:pt x="1481" y="426"/>
                    <a:pt x="1481" y="426"/>
                    <a:pt x="1481" y="426"/>
                  </a:cubicBezTo>
                  <a:cubicBezTo>
                    <a:pt x="1467" y="408"/>
                    <a:pt x="1467" y="408"/>
                    <a:pt x="1467" y="408"/>
                  </a:cubicBezTo>
                  <a:cubicBezTo>
                    <a:pt x="1463" y="403"/>
                    <a:pt x="1463" y="403"/>
                    <a:pt x="1463" y="403"/>
                  </a:cubicBezTo>
                  <a:cubicBezTo>
                    <a:pt x="1458" y="403"/>
                    <a:pt x="1458" y="403"/>
                    <a:pt x="1458" y="403"/>
                  </a:cubicBezTo>
                  <a:cubicBezTo>
                    <a:pt x="1449" y="403"/>
                    <a:pt x="1449" y="403"/>
                    <a:pt x="1449" y="403"/>
                  </a:cubicBezTo>
                  <a:cubicBezTo>
                    <a:pt x="1440" y="399"/>
                    <a:pt x="1440" y="399"/>
                    <a:pt x="1440" y="399"/>
                  </a:cubicBezTo>
                  <a:cubicBezTo>
                    <a:pt x="1435" y="394"/>
                    <a:pt x="1435" y="394"/>
                    <a:pt x="1435" y="394"/>
                  </a:cubicBezTo>
                  <a:cubicBezTo>
                    <a:pt x="1426" y="389"/>
                    <a:pt x="1426" y="389"/>
                    <a:pt x="1426" y="389"/>
                  </a:cubicBezTo>
                  <a:cubicBezTo>
                    <a:pt x="1417" y="380"/>
                    <a:pt x="1417" y="380"/>
                    <a:pt x="1417" y="380"/>
                  </a:cubicBezTo>
                  <a:cubicBezTo>
                    <a:pt x="1412" y="376"/>
                    <a:pt x="1412" y="376"/>
                    <a:pt x="1412" y="376"/>
                  </a:cubicBezTo>
                  <a:cubicBezTo>
                    <a:pt x="1412" y="371"/>
                    <a:pt x="1412" y="371"/>
                    <a:pt x="1412" y="371"/>
                  </a:cubicBezTo>
                  <a:cubicBezTo>
                    <a:pt x="1412" y="367"/>
                    <a:pt x="1412" y="367"/>
                    <a:pt x="1412" y="367"/>
                  </a:cubicBezTo>
                  <a:cubicBezTo>
                    <a:pt x="1412" y="362"/>
                    <a:pt x="1412" y="362"/>
                    <a:pt x="1412" y="362"/>
                  </a:cubicBezTo>
                  <a:cubicBezTo>
                    <a:pt x="1412" y="335"/>
                    <a:pt x="1412" y="335"/>
                    <a:pt x="1412" y="335"/>
                  </a:cubicBezTo>
                  <a:cubicBezTo>
                    <a:pt x="1412" y="325"/>
                    <a:pt x="1412" y="325"/>
                    <a:pt x="1412" y="325"/>
                  </a:cubicBezTo>
                  <a:cubicBezTo>
                    <a:pt x="1412" y="316"/>
                    <a:pt x="1412" y="316"/>
                    <a:pt x="1412" y="316"/>
                  </a:cubicBezTo>
                  <a:cubicBezTo>
                    <a:pt x="1412" y="307"/>
                    <a:pt x="1412" y="307"/>
                    <a:pt x="1412" y="307"/>
                  </a:cubicBezTo>
                  <a:cubicBezTo>
                    <a:pt x="1408" y="298"/>
                    <a:pt x="1408" y="298"/>
                    <a:pt x="1408" y="298"/>
                  </a:cubicBezTo>
                  <a:cubicBezTo>
                    <a:pt x="1403" y="289"/>
                    <a:pt x="1403" y="289"/>
                    <a:pt x="1403" y="289"/>
                  </a:cubicBezTo>
                  <a:cubicBezTo>
                    <a:pt x="1394" y="280"/>
                    <a:pt x="1394" y="280"/>
                    <a:pt x="1394" y="280"/>
                  </a:cubicBezTo>
                  <a:cubicBezTo>
                    <a:pt x="1394" y="234"/>
                    <a:pt x="1394" y="234"/>
                    <a:pt x="1394" y="234"/>
                  </a:cubicBezTo>
                  <a:cubicBezTo>
                    <a:pt x="1389" y="225"/>
                    <a:pt x="1389" y="225"/>
                    <a:pt x="1389" y="225"/>
                  </a:cubicBezTo>
                  <a:cubicBezTo>
                    <a:pt x="1385" y="202"/>
                    <a:pt x="1385" y="202"/>
                    <a:pt x="1385" y="202"/>
                  </a:cubicBezTo>
                  <a:cubicBezTo>
                    <a:pt x="1376" y="183"/>
                    <a:pt x="1376" y="183"/>
                    <a:pt x="1376" y="183"/>
                  </a:cubicBezTo>
                  <a:cubicBezTo>
                    <a:pt x="1366" y="174"/>
                    <a:pt x="1366" y="174"/>
                    <a:pt x="1366" y="174"/>
                  </a:cubicBezTo>
                  <a:cubicBezTo>
                    <a:pt x="1362" y="170"/>
                    <a:pt x="1362" y="170"/>
                    <a:pt x="1362" y="170"/>
                  </a:cubicBezTo>
                  <a:cubicBezTo>
                    <a:pt x="1357" y="170"/>
                    <a:pt x="1357" y="170"/>
                    <a:pt x="1357" y="170"/>
                  </a:cubicBezTo>
                  <a:cubicBezTo>
                    <a:pt x="1353" y="165"/>
                    <a:pt x="1353" y="165"/>
                    <a:pt x="1353" y="165"/>
                  </a:cubicBezTo>
                  <a:cubicBezTo>
                    <a:pt x="1348" y="165"/>
                    <a:pt x="1348" y="165"/>
                    <a:pt x="1348" y="165"/>
                  </a:cubicBezTo>
                  <a:cubicBezTo>
                    <a:pt x="1339" y="170"/>
                    <a:pt x="1339" y="170"/>
                    <a:pt x="1339" y="170"/>
                  </a:cubicBezTo>
                  <a:cubicBezTo>
                    <a:pt x="1334" y="170"/>
                    <a:pt x="1334" y="170"/>
                    <a:pt x="1334" y="170"/>
                  </a:cubicBezTo>
                  <a:cubicBezTo>
                    <a:pt x="1330" y="170"/>
                    <a:pt x="1330" y="170"/>
                    <a:pt x="1330" y="170"/>
                  </a:cubicBezTo>
                  <a:cubicBezTo>
                    <a:pt x="1330" y="174"/>
                    <a:pt x="1330" y="174"/>
                    <a:pt x="1330" y="174"/>
                  </a:cubicBezTo>
                  <a:cubicBezTo>
                    <a:pt x="1325" y="174"/>
                    <a:pt x="1325" y="174"/>
                    <a:pt x="1325" y="174"/>
                  </a:cubicBezTo>
                  <a:cubicBezTo>
                    <a:pt x="1321" y="174"/>
                    <a:pt x="1321" y="174"/>
                    <a:pt x="1321" y="174"/>
                  </a:cubicBezTo>
                  <a:cubicBezTo>
                    <a:pt x="1316" y="174"/>
                    <a:pt x="1316" y="174"/>
                    <a:pt x="1316" y="174"/>
                  </a:cubicBezTo>
                  <a:cubicBezTo>
                    <a:pt x="1316" y="170"/>
                    <a:pt x="1316" y="170"/>
                    <a:pt x="1316" y="170"/>
                  </a:cubicBezTo>
                  <a:cubicBezTo>
                    <a:pt x="1311" y="160"/>
                    <a:pt x="1311" y="160"/>
                    <a:pt x="1311" y="160"/>
                  </a:cubicBezTo>
                  <a:cubicBezTo>
                    <a:pt x="1311" y="156"/>
                    <a:pt x="1311" y="156"/>
                    <a:pt x="1311" y="156"/>
                  </a:cubicBezTo>
                  <a:cubicBezTo>
                    <a:pt x="1311" y="147"/>
                    <a:pt x="1311" y="147"/>
                    <a:pt x="1311" y="147"/>
                  </a:cubicBezTo>
                  <a:cubicBezTo>
                    <a:pt x="1311" y="124"/>
                    <a:pt x="1311" y="124"/>
                    <a:pt x="1311" y="124"/>
                  </a:cubicBezTo>
                  <a:cubicBezTo>
                    <a:pt x="1316" y="110"/>
                    <a:pt x="1316" y="110"/>
                    <a:pt x="1316" y="110"/>
                  </a:cubicBezTo>
                  <a:cubicBezTo>
                    <a:pt x="1316" y="106"/>
                    <a:pt x="1316" y="106"/>
                    <a:pt x="1316" y="106"/>
                  </a:cubicBezTo>
                  <a:cubicBezTo>
                    <a:pt x="1316" y="101"/>
                    <a:pt x="1316" y="101"/>
                    <a:pt x="1316" y="101"/>
                  </a:cubicBezTo>
                  <a:cubicBezTo>
                    <a:pt x="1311" y="96"/>
                    <a:pt x="1311" y="96"/>
                    <a:pt x="1311" y="96"/>
                  </a:cubicBezTo>
                  <a:cubicBezTo>
                    <a:pt x="1307" y="92"/>
                    <a:pt x="1307" y="92"/>
                    <a:pt x="1307" y="92"/>
                  </a:cubicBezTo>
                  <a:cubicBezTo>
                    <a:pt x="1302" y="87"/>
                    <a:pt x="1302" y="87"/>
                    <a:pt x="1302" y="87"/>
                  </a:cubicBezTo>
                  <a:cubicBezTo>
                    <a:pt x="1293" y="83"/>
                    <a:pt x="1293" y="83"/>
                    <a:pt x="1293" y="83"/>
                  </a:cubicBezTo>
                  <a:cubicBezTo>
                    <a:pt x="1288" y="73"/>
                    <a:pt x="1288" y="73"/>
                    <a:pt x="1288" y="73"/>
                  </a:cubicBezTo>
                  <a:cubicBezTo>
                    <a:pt x="1288" y="46"/>
                    <a:pt x="1288" y="46"/>
                    <a:pt x="1288" y="46"/>
                  </a:cubicBezTo>
                  <a:cubicBezTo>
                    <a:pt x="1279" y="19"/>
                    <a:pt x="1279" y="19"/>
                    <a:pt x="1279" y="19"/>
                  </a:cubicBezTo>
                  <a:cubicBezTo>
                    <a:pt x="1275" y="9"/>
                    <a:pt x="1275" y="9"/>
                    <a:pt x="1275" y="9"/>
                  </a:cubicBezTo>
                  <a:cubicBezTo>
                    <a:pt x="1270" y="5"/>
                    <a:pt x="1270" y="5"/>
                    <a:pt x="1270" y="5"/>
                  </a:cubicBezTo>
                  <a:cubicBezTo>
                    <a:pt x="1261" y="0"/>
                    <a:pt x="1261" y="0"/>
                    <a:pt x="1261" y="0"/>
                  </a:cubicBezTo>
                  <a:cubicBezTo>
                    <a:pt x="1252" y="0"/>
                    <a:pt x="1252" y="0"/>
                    <a:pt x="1252" y="0"/>
                  </a:cubicBezTo>
                  <a:cubicBezTo>
                    <a:pt x="1247" y="0"/>
                    <a:pt x="1247" y="0"/>
                    <a:pt x="1247" y="0"/>
                  </a:cubicBezTo>
                  <a:cubicBezTo>
                    <a:pt x="1238" y="9"/>
                    <a:pt x="1238" y="9"/>
                    <a:pt x="1238" y="9"/>
                  </a:cubicBezTo>
                  <a:cubicBezTo>
                    <a:pt x="1238" y="23"/>
                    <a:pt x="1238" y="23"/>
                    <a:pt x="1238" y="23"/>
                  </a:cubicBezTo>
                  <a:cubicBezTo>
                    <a:pt x="1238" y="41"/>
                    <a:pt x="1238" y="41"/>
                    <a:pt x="1238" y="41"/>
                  </a:cubicBezTo>
                  <a:cubicBezTo>
                    <a:pt x="1238" y="51"/>
                    <a:pt x="1238" y="51"/>
                    <a:pt x="1238" y="51"/>
                  </a:cubicBezTo>
                  <a:cubicBezTo>
                    <a:pt x="1233" y="60"/>
                    <a:pt x="1233" y="60"/>
                    <a:pt x="1233" y="60"/>
                  </a:cubicBezTo>
                  <a:cubicBezTo>
                    <a:pt x="1233" y="73"/>
                    <a:pt x="1233" y="73"/>
                    <a:pt x="1233" y="73"/>
                  </a:cubicBezTo>
                  <a:cubicBezTo>
                    <a:pt x="1229" y="83"/>
                    <a:pt x="1229" y="83"/>
                    <a:pt x="1229" y="83"/>
                  </a:cubicBezTo>
                  <a:cubicBezTo>
                    <a:pt x="1224" y="101"/>
                    <a:pt x="1224" y="101"/>
                    <a:pt x="1224" y="101"/>
                  </a:cubicBezTo>
                  <a:cubicBezTo>
                    <a:pt x="1220" y="110"/>
                    <a:pt x="1220" y="110"/>
                    <a:pt x="1220" y="110"/>
                  </a:cubicBezTo>
                  <a:cubicBezTo>
                    <a:pt x="1220" y="119"/>
                    <a:pt x="1220" y="119"/>
                    <a:pt x="1220" y="119"/>
                  </a:cubicBezTo>
                  <a:cubicBezTo>
                    <a:pt x="1215" y="128"/>
                    <a:pt x="1215" y="128"/>
                    <a:pt x="1215" y="128"/>
                  </a:cubicBezTo>
                  <a:cubicBezTo>
                    <a:pt x="1215" y="133"/>
                    <a:pt x="1215" y="133"/>
                    <a:pt x="1215" y="133"/>
                  </a:cubicBezTo>
                  <a:cubicBezTo>
                    <a:pt x="1206" y="147"/>
                    <a:pt x="1206" y="147"/>
                    <a:pt x="1206" y="147"/>
                  </a:cubicBezTo>
                  <a:cubicBezTo>
                    <a:pt x="1206" y="156"/>
                    <a:pt x="1206" y="156"/>
                    <a:pt x="1206" y="156"/>
                  </a:cubicBezTo>
                  <a:cubicBezTo>
                    <a:pt x="1206" y="165"/>
                    <a:pt x="1206" y="165"/>
                    <a:pt x="1206" y="165"/>
                  </a:cubicBezTo>
                  <a:cubicBezTo>
                    <a:pt x="1206" y="174"/>
                    <a:pt x="1206" y="174"/>
                    <a:pt x="1206" y="174"/>
                  </a:cubicBezTo>
                  <a:cubicBezTo>
                    <a:pt x="1210" y="193"/>
                    <a:pt x="1210" y="193"/>
                    <a:pt x="1210" y="193"/>
                  </a:cubicBezTo>
                  <a:cubicBezTo>
                    <a:pt x="1215" y="202"/>
                    <a:pt x="1215" y="202"/>
                    <a:pt x="1215" y="202"/>
                  </a:cubicBezTo>
                  <a:cubicBezTo>
                    <a:pt x="1215" y="206"/>
                    <a:pt x="1215" y="206"/>
                    <a:pt x="1215" y="206"/>
                  </a:cubicBezTo>
                  <a:cubicBezTo>
                    <a:pt x="1220" y="211"/>
                    <a:pt x="1220" y="211"/>
                    <a:pt x="1220" y="211"/>
                  </a:cubicBezTo>
                  <a:cubicBezTo>
                    <a:pt x="1220" y="215"/>
                    <a:pt x="1220" y="215"/>
                    <a:pt x="1220" y="215"/>
                  </a:cubicBezTo>
                  <a:cubicBezTo>
                    <a:pt x="1215" y="215"/>
                    <a:pt x="1215" y="215"/>
                    <a:pt x="1215" y="215"/>
                  </a:cubicBezTo>
                  <a:cubicBezTo>
                    <a:pt x="1215" y="220"/>
                    <a:pt x="1215" y="220"/>
                    <a:pt x="1215" y="220"/>
                  </a:cubicBezTo>
                  <a:cubicBezTo>
                    <a:pt x="1215" y="225"/>
                    <a:pt x="1215" y="225"/>
                    <a:pt x="1215" y="225"/>
                  </a:cubicBezTo>
                  <a:cubicBezTo>
                    <a:pt x="1210" y="225"/>
                    <a:pt x="1210" y="225"/>
                    <a:pt x="1210" y="225"/>
                  </a:cubicBezTo>
                  <a:cubicBezTo>
                    <a:pt x="1210" y="229"/>
                    <a:pt x="1210" y="229"/>
                    <a:pt x="1210" y="229"/>
                  </a:cubicBezTo>
                  <a:cubicBezTo>
                    <a:pt x="1206" y="229"/>
                    <a:pt x="1206" y="229"/>
                    <a:pt x="1206" y="229"/>
                  </a:cubicBezTo>
                  <a:cubicBezTo>
                    <a:pt x="1206" y="234"/>
                    <a:pt x="1206" y="234"/>
                    <a:pt x="1206" y="234"/>
                  </a:cubicBezTo>
                  <a:cubicBezTo>
                    <a:pt x="1201" y="238"/>
                    <a:pt x="1201" y="238"/>
                    <a:pt x="1201" y="238"/>
                  </a:cubicBezTo>
                  <a:cubicBezTo>
                    <a:pt x="1206" y="243"/>
                    <a:pt x="1206" y="243"/>
                    <a:pt x="1206" y="243"/>
                  </a:cubicBezTo>
                  <a:cubicBezTo>
                    <a:pt x="1206" y="248"/>
                    <a:pt x="1206" y="248"/>
                    <a:pt x="1206" y="248"/>
                  </a:cubicBezTo>
                  <a:cubicBezTo>
                    <a:pt x="1206" y="252"/>
                    <a:pt x="1206" y="252"/>
                    <a:pt x="1206" y="252"/>
                  </a:cubicBezTo>
                  <a:cubicBezTo>
                    <a:pt x="1197" y="261"/>
                    <a:pt x="1197" y="261"/>
                    <a:pt x="1197" y="261"/>
                  </a:cubicBezTo>
                  <a:cubicBezTo>
                    <a:pt x="1192" y="266"/>
                    <a:pt x="1192" y="266"/>
                    <a:pt x="1192" y="266"/>
                  </a:cubicBezTo>
                  <a:cubicBezTo>
                    <a:pt x="1183" y="275"/>
                    <a:pt x="1183" y="275"/>
                    <a:pt x="1183" y="275"/>
                  </a:cubicBezTo>
                  <a:cubicBezTo>
                    <a:pt x="1178" y="280"/>
                    <a:pt x="1178" y="280"/>
                    <a:pt x="1178" y="280"/>
                  </a:cubicBezTo>
                  <a:cubicBezTo>
                    <a:pt x="1178" y="289"/>
                    <a:pt x="1178" y="289"/>
                    <a:pt x="1178" y="289"/>
                  </a:cubicBezTo>
                  <a:cubicBezTo>
                    <a:pt x="1183" y="293"/>
                    <a:pt x="1183" y="293"/>
                    <a:pt x="1183" y="293"/>
                  </a:cubicBezTo>
                  <a:cubicBezTo>
                    <a:pt x="1178" y="298"/>
                    <a:pt x="1178" y="298"/>
                    <a:pt x="1178" y="298"/>
                  </a:cubicBezTo>
                  <a:cubicBezTo>
                    <a:pt x="1178" y="302"/>
                    <a:pt x="1178" y="302"/>
                    <a:pt x="1178" y="302"/>
                  </a:cubicBezTo>
                  <a:cubicBezTo>
                    <a:pt x="1174" y="302"/>
                    <a:pt x="1174" y="302"/>
                    <a:pt x="1174" y="302"/>
                  </a:cubicBezTo>
                  <a:cubicBezTo>
                    <a:pt x="1174" y="307"/>
                    <a:pt x="1174" y="307"/>
                    <a:pt x="1174" y="307"/>
                  </a:cubicBezTo>
                  <a:cubicBezTo>
                    <a:pt x="1169" y="307"/>
                    <a:pt x="1169" y="307"/>
                    <a:pt x="1169" y="307"/>
                  </a:cubicBezTo>
                  <a:cubicBezTo>
                    <a:pt x="1165" y="312"/>
                    <a:pt x="1165" y="312"/>
                    <a:pt x="1165" y="312"/>
                  </a:cubicBezTo>
                  <a:cubicBezTo>
                    <a:pt x="1146" y="316"/>
                    <a:pt x="1146" y="316"/>
                    <a:pt x="1146" y="316"/>
                  </a:cubicBezTo>
                  <a:cubicBezTo>
                    <a:pt x="1142" y="316"/>
                    <a:pt x="1142" y="316"/>
                    <a:pt x="1142" y="316"/>
                  </a:cubicBezTo>
                  <a:cubicBezTo>
                    <a:pt x="1133" y="312"/>
                    <a:pt x="1133" y="312"/>
                    <a:pt x="1133" y="312"/>
                  </a:cubicBezTo>
                  <a:cubicBezTo>
                    <a:pt x="1128" y="312"/>
                    <a:pt x="1128" y="312"/>
                    <a:pt x="1128" y="312"/>
                  </a:cubicBezTo>
                  <a:cubicBezTo>
                    <a:pt x="1123" y="307"/>
                    <a:pt x="1123" y="307"/>
                    <a:pt x="1123" y="307"/>
                  </a:cubicBezTo>
                  <a:cubicBezTo>
                    <a:pt x="1119" y="302"/>
                    <a:pt x="1119" y="302"/>
                    <a:pt x="1119" y="302"/>
                  </a:cubicBezTo>
                  <a:cubicBezTo>
                    <a:pt x="1114" y="298"/>
                    <a:pt x="1114" y="298"/>
                    <a:pt x="1114" y="298"/>
                  </a:cubicBezTo>
                  <a:cubicBezTo>
                    <a:pt x="1114" y="293"/>
                    <a:pt x="1114" y="293"/>
                    <a:pt x="1114" y="293"/>
                  </a:cubicBezTo>
                  <a:cubicBezTo>
                    <a:pt x="1110" y="293"/>
                    <a:pt x="1110" y="293"/>
                    <a:pt x="1110" y="293"/>
                  </a:cubicBezTo>
                  <a:cubicBezTo>
                    <a:pt x="1105" y="289"/>
                    <a:pt x="1105" y="289"/>
                    <a:pt x="1105" y="289"/>
                  </a:cubicBezTo>
                  <a:cubicBezTo>
                    <a:pt x="1100" y="284"/>
                    <a:pt x="1100" y="284"/>
                    <a:pt x="1100" y="284"/>
                  </a:cubicBezTo>
                  <a:cubicBezTo>
                    <a:pt x="1096" y="280"/>
                    <a:pt x="1096" y="280"/>
                    <a:pt x="1096" y="280"/>
                  </a:cubicBezTo>
                  <a:cubicBezTo>
                    <a:pt x="1091" y="275"/>
                    <a:pt x="1091" y="275"/>
                    <a:pt x="1091" y="275"/>
                  </a:cubicBezTo>
                  <a:cubicBezTo>
                    <a:pt x="1078" y="275"/>
                    <a:pt x="1078" y="275"/>
                    <a:pt x="1078" y="275"/>
                  </a:cubicBezTo>
                  <a:cubicBezTo>
                    <a:pt x="1073" y="275"/>
                    <a:pt x="1073" y="275"/>
                    <a:pt x="1073" y="275"/>
                  </a:cubicBezTo>
                  <a:cubicBezTo>
                    <a:pt x="1064" y="270"/>
                    <a:pt x="1064" y="270"/>
                    <a:pt x="1064" y="270"/>
                  </a:cubicBezTo>
                  <a:cubicBezTo>
                    <a:pt x="1059" y="270"/>
                    <a:pt x="1059" y="270"/>
                    <a:pt x="1059" y="270"/>
                  </a:cubicBezTo>
                  <a:cubicBezTo>
                    <a:pt x="1055" y="270"/>
                    <a:pt x="1055" y="270"/>
                    <a:pt x="1055" y="270"/>
                  </a:cubicBezTo>
                  <a:cubicBezTo>
                    <a:pt x="1055" y="266"/>
                    <a:pt x="1055" y="266"/>
                    <a:pt x="1055" y="266"/>
                  </a:cubicBezTo>
                  <a:cubicBezTo>
                    <a:pt x="1050" y="266"/>
                    <a:pt x="1050" y="266"/>
                    <a:pt x="1050" y="266"/>
                  </a:cubicBezTo>
                  <a:cubicBezTo>
                    <a:pt x="1050" y="261"/>
                    <a:pt x="1050" y="261"/>
                    <a:pt x="1050" y="261"/>
                  </a:cubicBezTo>
                  <a:cubicBezTo>
                    <a:pt x="1045" y="261"/>
                    <a:pt x="1045" y="261"/>
                    <a:pt x="1045" y="261"/>
                  </a:cubicBezTo>
                  <a:cubicBezTo>
                    <a:pt x="1045" y="257"/>
                    <a:pt x="1045" y="257"/>
                    <a:pt x="1045" y="257"/>
                  </a:cubicBezTo>
                  <a:cubicBezTo>
                    <a:pt x="1041" y="257"/>
                    <a:pt x="1041" y="257"/>
                    <a:pt x="1041" y="257"/>
                  </a:cubicBezTo>
                  <a:cubicBezTo>
                    <a:pt x="1041" y="252"/>
                    <a:pt x="1041" y="252"/>
                    <a:pt x="1041" y="252"/>
                  </a:cubicBezTo>
                  <a:cubicBezTo>
                    <a:pt x="1039" y="251"/>
                    <a:pt x="1038" y="251"/>
                    <a:pt x="1037" y="250"/>
                  </a:cubicBezTo>
                  <a:cubicBezTo>
                    <a:pt x="1032" y="248"/>
                    <a:pt x="1032" y="248"/>
                    <a:pt x="1032" y="248"/>
                  </a:cubicBezTo>
                  <a:cubicBezTo>
                    <a:pt x="1027" y="243"/>
                    <a:pt x="1027" y="243"/>
                    <a:pt x="1027" y="243"/>
                  </a:cubicBezTo>
                  <a:cubicBezTo>
                    <a:pt x="1023" y="243"/>
                    <a:pt x="1023" y="243"/>
                    <a:pt x="1023" y="243"/>
                  </a:cubicBezTo>
                  <a:cubicBezTo>
                    <a:pt x="1018" y="238"/>
                    <a:pt x="1018" y="238"/>
                    <a:pt x="1018" y="238"/>
                  </a:cubicBezTo>
                  <a:cubicBezTo>
                    <a:pt x="1013" y="238"/>
                    <a:pt x="1013" y="238"/>
                    <a:pt x="1013" y="238"/>
                  </a:cubicBezTo>
                  <a:cubicBezTo>
                    <a:pt x="1009" y="238"/>
                    <a:pt x="1009" y="238"/>
                    <a:pt x="1009" y="238"/>
                  </a:cubicBezTo>
                  <a:cubicBezTo>
                    <a:pt x="1004" y="234"/>
                    <a:pt x="1004" y="234"/>
                    <a:pt x="1004" y="234"/>
                  </a:cubicBezTo>
                  <a:cubicBezTo>
                    <a:pt x="995" y="229"/>
                    <a:pt x="995" y="229"/>
                    <a:pt x="995" y="229"/>
                  </a:cubicBezTo>
                  <a:cubicBezTo>
                    <a:pt x="995" y="225"/>
                    <a:pt x="995" y="225"/>
                    <a:pt x="995" y="225"/>
                  </a:cubicBezTo>
                  <a:cubicBezTo>
                    <a:pt x="990" y="220"/>
                    <a:pt x="990" y="220"/>
                    <a:pt x="990" y="220"/>
                  </a:cubicBezTo>
                  <a:cubicBezTo>
                    <a:pt x="990" y="211"/>
                    <a:pt x="990" y="211"/>
                    <a:pt x="990" y="211"/>
                  </a:cubicBezTo>
                  <a:cubicBezTo>
                    <a:pt x="986" y="206"/>
                    <a:pt x="986" y="206"/>
                    <a:pt x="986" y="206"/>
                  </a:cubicBezTo>
                  <a:cubicBezTo>
                    <a:pt x="981" y="206"/>
                    <a:pt x="981" y="206"/>
                    <a:pt x="981" y="206"/>
                  </a:cubicBezTo>
                  <a:cubicBezTo>
                    <a:pt x="977" y="206"/>
                    <a:pt x="977" y="206"/>
                    <a:pt x="977" y="206"/>
                  </a:cubicBezTo>
                  <a:cubicBezTo>
                    <a:pt x="972" y="206"/>
                    <a:pt x="972" y="206"/>
                    <a:pt x="972" y="206"/>
                  </a:cubicBezTo>
                  <a:cubicBezTo>
                    <a:pt x="968" y="202"/>
                    <a:pt x="968" y="202"/>
                    <a:pt x="968" y="202"/>
                  </a:cubicBezTo>
                  <a:cubicBezTo>
                    <a:pt x="963" y="202"/>
                    <a:pt x="963" y="202"/>
                    <a:pt x="963" y="202"/>
                  </a:cubicBezTo>
                  <a:cubicBezTo>
                    <a:pt x="963" y="197"/>
                    <a:pt x="963" y="197"/>
                    <a:pt x="963" y="197"/>
                  </a:cubicBezTo>
                  <a:cubicBezTo>
                    <a:pt x="963" y="193"/>
                    <a:pt x="963" y="193"/>
                    <a:pt x="963" y="193"/>
                  </a:cubicBezTo>
                  <a:cubicBezTo>
                    <a:pt x="958" y="193"/>
                    <a:pt x="958" y="193"/>
                    <a:pt x="958" y="193"/>
                  </a:cubicBezTo>
                  <a:cubicBezTo>
                    <a:pt x="958" y="188"/>
                    <a:pt x="958" y="188"/>
                    <a:pt x="958" y="188"/>
                  </a:cubicBezTo>
                  <a:cubicBezTo>
                    <a:pt x="958" y="179"/>
                    <a:pt x="958" y="179"/>
                    <a:pt x="958" y="179"/>
                  </a:cubicBezTo>
                  <a:cubicBezTo>
                    <a:pt x="963" y="174"/>
                    <a:pt x="963" y="174"/>
                    <a:pt x="963" y="174"/>
                  </a:cubicBezTo>
                  <a:cubicBezTo>
                    <a:pt x="968" y="174"/>
                    <a:pt x="968" y="174"/>
                    <a:pt x="968" y="174"/>
                  </a:cubicBezTo>
                  <a:cubicBezTo>
                    <a:pt x="968" y="170"/>
                    <a:pt x="968" y="170"/>
                    <a:pt x="968" y="170"/>
                  </a:cubicBezTo>
                  <a:cubicBezTo>
                    <a:pt x="972" y="170"/>
                    <a:pt x="972" y="170"/>
                    <a:pt x="972" y="170"/>
                  </a:cubicBezTo>
                  <a:cubicBezTo>
                    <a:pt x="977" y="160"/>
                    <a:pt x="977" y="160"/>
                    <a:pt x="977" y="160"/>
                  </a:cubicBezTo>
                  <a:cubicBezTo>
                    <a:pt x="981" y="156"/>
                    <a:pt x="981" y="156"/>
                    <a:pt x="981" y="156"/>
                  </a:cubicBezTo>
                  <a:cubicBezTo>
                    <a:pt x="981" y="151"/>
                    <a:pt x="981" y="151"/>
                    <a:pt x="981" y="151"/>
                  </a:cubicBezTo>
                  <a:cubicBezTo>
                    <a:pt x="981" y="147"/>
                    <a:pt x="981" y="147"/>
                    <a:pt x="981" y="147"/>
                  </a:cubicBezTo>
                  <a:cubicBezTo>
                    <a:pt x="981" y="142"/>
                    <a:pt x="981" y="142"/>
                    <a:pt x="981" y="142"/>
                  </a:cubicBezTo>
                  <a:cubicBezTo>
                    <a:pt x="981" y="128"/>
                    <a:pt x="981" y="128"/>
                    <a:pt x="981" y="128"/>
                  </a:cubicBezTo>
                  <a:cubicBezTo>
                    <a:pt x="981" y="124"/>
                    <a:pt x="981" y="124"/>
                    <a:pt x="981" y="124"/>
                  </a:cubicBezTo>
                  <a:cubicBezTo>
                    <a:pt x="986" y="124"/>
                    <a:pt x="986" y="124"/>
                    <a:pt x="986" y="124"/>
                  </a:cubicBezTo>
                  <a:cubicBezTo>
                    <a:pt x="990" y="119"/>
                    <a:pt x="990" y="119"/>
                    <a:pt x="990" y="119"/>
                  </a:cubicBezTo>
                  <a:cubicBezTo>
                    <a:pt x="995" y="119"/>
                    <a:pt x="995" y="119"/>
                    <a:pt x="995" y="119"/>
                  </a:cubicBezTo>
                  <a:cubicBezTo>
                    <a:pt x="1000" y="110"/>
                    <a:pt x="1000" y="110"/>
                    <a:pt x="1000" y="110"/>
                  </a:cubicBezTo>
                  <a:cubicBezTo>
                    <a:pt x="1000" y="106"/>
                    <a:pt x="1000" y="106"/>
                    <a:pt x="1000" y="106"/>
                  </a:cubicBezTo>
                  <a:cubicBezTo>
                    <a:pt x="1000" y="101"/>
                    <a:pt x="1000" y="101"/>
                    <a:pt x="1000" y="101"/>
                  </a:cubicBezTo>
                  <a:cubicBezTo>
                    <a:pt x="1000" y="96"/>
                    <a:pt x="1000" y="96"/>
                    <a:pt x="1000" y="96"/>
                  </a:cubicBezTo>
                  <a:cubicBezTo>
                    <a:pt x="1000" y="92"/>
                    <a:pt x="1000" y="92"/>
                    <a:pt x="1000" y="92"/>
                  </a:cubicBezTo>
                  <a:cubicBezTo>
                    <a:pt x="1004" y="87"/>
                    <a:pt x="1004" y="87"/>
                    <a:pt x="1004" y="87"/>
                  </a:cubicBezTo>
                  <a:cubicBezTo>
                    <a:pt x="1004" y="83"/>
                    <a:pt x="1004" y="83"/>
                    <a:pt x="1004" y="83"/>
                  </a:cubicBezTo>
                  <a:cubicBezTo>
                    <a:pt x="1009" y="78"/>
                    <a:pt x="1009" y="78"/>
                    <a:pt x="1009" y="78"/>
                  </a:cubicBezTo>
                  <a:cubicBezTo>
                    <a:pt x="1009" y="69"/>
                    <a:pt x="1009" y="69"/>
                    <a:pt x="1009" y="69"/>
                  </a:cubicBezTo>
                  <a:cubicBezTo>
                    <a:pt x="1004" y="64"/>
                    <a:pt x="1004" y="64"/>
                    <a:pt x="1004" y="64"/>
                  </a:cubicBezTo>
                  <a:cubicBezTo>
                    <a:pt x="1000" y="60"/>
                    <a:pt x="1000" y="60"/>
                    <a:pt x="1000" y="60"/>
                  </a:cubicBezTo>
                  <a:cubicBezTo>
                    <a:pt x="990" y="55"/>
                    <a:pt x="990" y="55"/>
                    <a:pt x="990" y="55"/>
                  </a:cubicBezTo>
                  <a:cubicBezTo>
                    <a:pt x="981" y="51"/>
                    <a:pt x="981" y="51"/>
                    <a:pt x="981" y="51"/>
                  </a:cubicBezTo>
                  <a:cubicBezTo>
                    <a:pt x="977" y="51"/>
                    <a:pt x="977" y="51"/>
                    <a:pt x="977" y="51"/>
                  </a:cubicBezTo>
                  <a:cubicBezTo>
                    <a:pt x="972" y="55"/>
                    <a:pt x="972" y="55"/>
                    <a:pt x="972" y="55"/>
                  </a:cubicBezTo>
                  <a:cubicBezTo>
                    <a:pt x="968" y="55"/>
                    <a:pt x="968" y="55"/>
                    <a:pt x="968" y="55"/>
                  </a:cubicBezTo>
                  <a:cubicBezTo>
                    <a:pt x="963" y="55"/>
                    <a:pt x="963" y="55"/>
                    <a:pt x="963" y="55"/>
                  </a:cubicBezTo>
                  <a:cubicBezTo>
                    <a:pt x="954" y="55"/>
                    <a:pt x="954" y="55"/>
                    <a:pt x="954" y="55"/>
                  </a:cubicBezTo>
                  <a:cubicBezTo>
                    <a:pt x="949" y="55"/>
                    <a:pt x="949" y="55"/>
                    <a:pt x="949" y="55"/>
                  </a:cubicBezTo>
                  <a:cubicBezTo>
                    <a:pt x="945" y="60"/>
                    <a:pt x="945" y="60"/>
                    <a:pt x="945" y="60"/>
                  </a:cubicBezTo>
                  <a:cubicBezTo>
                    <a:pt x="931" y="60"/>
                    <a:pt x="931" y="60"/>
                    <a:pt x="931" y="60"/>
                  </a:cubicBezTo>
                  <a:cubicBezTo>
                    <a:pt x="926" y="55"/>
                    <a:pt x="926" y="55"/>
                    <a:pt x="926" y="55"/>
                  </a:cubicBezTo>
                  <a:cubicBezTo>
                    <a:pt x="922" y="55"/>
                    <a:pt x="922" y="55"/>
                    <a:pt x="922" y="55"/>
                  </a:cubicBezTo>
                  <a:cubicBezTo>
                    <a:pt x="917" y="55"/>
                    <a:pt x="917" y="55"/>
                    <a:pt x="917" y="55"/>
                  </a:cubicBezTo>
                  <a:cubicBezTo>
                    <a:pt x="912" y="51"/>
                    <a:pt x="912" y="51"/>
                    <a:pt x="912" y="51"/>
                  </a:cubicBezTo>
                  <a:cubicBezTo>
                    <a:pt x="908" y="51"/>
                    <a:pt x="908" y="51"/>
                    <a:pt x="908" y="51"/>
                  </a:cubicBezTo>
                  <a:cubicBezTo>
                    <a:pt x="903" y="51"/>
                    <a:pt x="903" y="51"/>
                    <a:pt x="903" y="51"/>
                  </a:cubicBezTo>
                  <a:cubicBezTo>
                    <a:pt x="899" y="55"/>
                    <a:pt x="899" y="55"/>
                    <a:pt x="899" y="55"/>
                  </a:cubicBezTo>
                  <a:cubicBezTo>
                    <a:pt x="894" y="55"/>
                    <a:pt x="894" y="55"/>
                    <a:pt x="894" y="55"/>
                  </a:cubicBezTo>
                  <a:cubicBezTo>
                    <a:pt x="890" y="55"/>
                    <a:pt x="890" y="55"/>
                    <a:pt x="890" y="55"/>
                  </a:cubicBezTo>
                  <a:cubicBezTo>
                    <a:pt x="880" y="55"/>
                    <a:pt x="880" y="55"/>
                    <a:pt x="880" y="55"/>
                  </a:cubicBezTo>
                  <a:cubicBezTo>
                    <a:pt x="876" y="46"/>
                    <a:pt x="876" y="46"/>
                    <a:pt x="876" y="46"/>
                  </a:cubicBezTo>
                  <a:cubicBezTo>
                    <a:pt x="871" y="46"/>
                    <a:pt x="871" y="46"/>
                    <a:pt x="871" y="46"/>
                  </a:cubicBezTo>
                  <a:cubicBezTo>
                    <a:pt x="867" y="41"/>
                    <a:pt x="867" y="41"/>
                    <a:pt x="867" y="41"/>
                  </a:cubicBezTo>
                  <a:cubicBezTo>
                    <a:pt x="862" y="41"/>
                    <a:pt x="862" y="41"/>
                    <a:pt x="862" y="41"/>
                  </a:cubicBezTo>
                  <a:cubicBezTo>
                    <a:pt x="857" y="32"/>
                    <a:pt x="857" y="32"/>
                    <a:pt x="857" y="32"/>
                  </a:cubicBezTo>
                  <a:cubicBezTo>
                    <a:pt x="853" y="32"/>
                    <a:pt x="853" y="32"/>
                    <a:pt x="853" y="32"/>
                  </a:cubicBezTo>
                  <a:cubicBezTo>
                    <a:pt x="848" y="28"/>
                    <a:pt x="848" y="28"/>
                    <a:pt x="848" y="28"/>
                  </a:cubicBezTo>
                  <a:cubicBezTo>
                    <a:pt x="844" y="28"/>
                    <a:pt x="844" y="28"/>
                    <a:pt x="844" y="28"/>
                  </a:cubicBezTo>
                  <a:cubicBezTo>
                    <a:pt x="835" y="23"/>
                    <a:pt x="835" y="23"/>
                    <a:pt x="835" y="23"/>
                  </a:cubicBezTo>
                  <a:cubicBezTo>
                    <a:pt x="821" y="23"/>
                    <a:pt x="821" y="23"/>
                    <a:pt x="821" y="23"/>
                  </a:cubicBezTo>
                  <a:cubicBezTo>
                    <a:pt x="816" y="23"/>
                    <a:pt x="816" y="23"/>
                    <a:pt x="816" y="23"/>
                  </a:cubicBezTo>
                  <a:cubicBezTo>
                    <a:pt x="816" y="19"/>
                    <a:pt x="816" y="19"/>
                    <a:pt x="816" y="19"/>
                  </a:cubicBezTo>
                  <a:cubicBezTo>
                    <a:pt x="807" y="19"/>
                    <a:pt x="807" y="19"/>
                    <a:pt x="807" y="19"/>
                  </a:cubicBezTo>
                  <a:cubicBezTo>
                    <a:pt x="802" y="14"/>
                    <a:pt x="802" y="14"/>
                    <a:pt x="802" y="14"/>
                  </a:cubicBezTo>
                  <a:cubicBezTo>
                    <a:pt x="798" y="14"/>
                    <a:pt x="798" y="14"/>
                    <a:pt x="798" y="14"/>
                  </a:cubicBezTo>
                  <a:cubicBezTo>
                    <a:pt x="793" y="19"/>
                    <a:pt x="793" y="19"/>
                    <a:pt x="793" y="19"/>
                  </a:cubicBezTo>
                  <a:cubicBezTo>
                    <a:pt x="789" y="19"/>
                    <a:pt x="789" y="19"/>
                    <a:pt x="789" y="19"/>
                  </a:cubicBezTo>
                  <a:cubicBezTo>
                    <a:pt x="784" y="19"/>
                    <a:pt x="784" y="19"/>
                    <a:pt x="784" y="19"/>
                  </a:cubicBezTo>
                  <a:cubicBezTo>
                    <a:pt x="780" y="23"/>
                    <a:pt x="780" y="23"/>
                    <a:pt x="780" y="23"/>
                  </a:cubicBezTo>
                  <a:cubicBezTo>
                    <a:pt x="784" y="28"/>
                    <a:pt x="784" y="28"/>
                    <a:pt x="784" y="28"/>
                  </a:cubicBezTo>
                  <a:cubicBezTo>
                    <a:pt x="784" y="32"/>
                    <a:pt x="784" y="32"/>
                    <a:pt x="784" y="32"/>
                  </a:cubicBezTo>
                  <a:cubicBezTo>
                    <a:pt x="793" y="32"/>
                    <a:pt x="793" y="32"/>
                    <a:pt x="793" y="32"/>
                  </a:cubicBezTo>
                  <a:cubicBezTo>
                    <a:pt x="798" y="37"/>
                    <a:pt x="798" y="37"/>
                    <a:pt x="798" y="37"/>
                  </a:cubicBezTo>
                  <a:cubicBezTo>
                    <a:pt x="802" y="41"/>
                    <a:pt x="802" y="41"/>
                    <a:pt x="802" y="41"/>
                  </a:cubicBezTo>
                  <a:cubicBezTo>
                    <a:pt x="807" y="41"/>
                    <a:pt x="807" y="41"/>
                    <a:pt x="807" y="41"/>
                  </a:cubicBezTo>
                  <a:cubicBezTo>
                    <a:pt x="812" y="46"/>
                    <a:pt x="812" y="46"/>
                    <a:pt x="812" y="46"/>
                  </a:cubicBezTo>
                  <a:cubicBezTo>
                    <a:pt x="812" y="51"/>
                    <a:pt x="812" y="51"/>
                    <a:pt x="812" y="51"/>
                  </a:cubicBezTo>
                  <a:cubicBezTo>
                    <a:pt x="816" y="51"/>
                    <a:pt x="816" y="51"/>
                    <a:pt x="816" y="51"/>
                  </a:cubicBezTo>
                  <a:cubicBezTo>
                    <a:pt x="812" y="55"/>
                    <a:pt x="812" y="55"/>
                    <a:pt x="812" y="55"/>
                  </a:cubicBezTo>
                  <a:cubicBezTo>
                    <a:pt x="812" y="60"/>
                    <a:pt x="812" y="60"/>
                    <a:pt x="812" y="60"/>
                  </a:cubicBezTo>
                  <a:cubicBezTo>
                    <a:pt x="807" y="64"/>
                    <a:pt x="807" y="64"/>
                    <a:pt x="807" y="64"/>
                  </a:cubicBezTo>
                  <a:cubicBezTo>
                    <a:pt x="802" y="64"/>
                    <a:pt x="802" y="64"/>
                    <a:pt x="802" y="64"/>
                  </a:cubicBezTo>
                  <a:cubicBezTo>
                    <a:pt x="798" y="64"/>
                    <a:pt x="798" y="64"/>
                    <a:pt x="798" y="64"/>
                  </a:cubicBezTo>
                  <a:cubicBezTo>
                    <a:pt x="789" y="64"/>
                    <a:pt x="789" y="64"/>
                    <a:pt x="789" y="64"/>
                  </a:cubicBezTo>
                  <a:cubicBezTo>
                    <a:pt x="780" y="64"/>
                    <a:pt x="780" y="64"/>
                    <a:pt x="780" y="64"/>
                  </a:cubicBezTo>
                  <a:cubicBezTo>
                    <a:pt x="775" y="64"/>
                    <a:pt x="775" y="64"/>
                    <a:pt x="775" y="64"/>
                  </a:cubicBezTo>
                  <a:cubicBezTo>
                    <a:pt x="766" y="64"/>
                    <a:pt x="766" y="64"/>
                    <a:pt x="766" y="64"/>
                  </a:cubicBezTo>
                  <a:cubicBezTo>
                    <a:pt x="761" y="60"/>
                    <a:pt x="761" y="60"/>
                    <a:pt x="761" y="60"/>
                  </a:cubicBezTo>
                  <a:cubicBezTo>
                    <a:pt x="752" y="60"/>
                    <a:pt x="752" y="60"/>
                    <a:pt x="752" y="60"/>
                  </a:cubicBezTo>
                  <a:cubicBezTo>
                    <a:pt x="743" y="64"/>
                    <a:pt x="743" y="64"/>
                    <a:pt x="743" y="64"/>
                  </a:cubicBezTo>
                  <a:cubicBezTo>
                    <a:pt x="734" y="64"/>
                    <a:pt x="734" y="64"/>
                    <a:pt x="734" y="64"/>
                  </a:cubicBezTo>
                  <a:cubicBezTo>
                    <a:pt x="729" y="69"/>
                    <a:pt x="729" y="69"/>
                    <a:pt x="729" y="69"/>
                  </a:cubicBezTo>
                  <a:cubicBezTo>
                    <a:pt x="720" y="69"/>
                    <a:pt x="720" y="69"/>
                    <a:pt x="720" y="69"/>
                  </a:cubicBezTo>
                  <a:cubicBezTo>
                    <a:pt x="715" y="73"/>
                    <a:pt x="715" y="73"/>
                    <a:pt x="715" y="73"/>
                  </a:cubicBezTo>
                  <a:cubicBezTo>
                    <a:pt x="711" y="78"/>
                    <a:pt x="711" y="78"/>
                    <a:pt x="711" y="78"/>
                  </a:cubicBezTo>
                  <a:cubicBezTo>
                    <a:pt x="706" y="78"/>
                    <a:pt x="706" y="78"/>
                    <a:pt x="706" y="78"/>
                  </a:cubicBezTo>
                  <a:cubicBezTo>
                    <a:pt x="706" y="87"/>
                    <a:pt x="706" y="87"/>
                    <a:pt x="706" y="87"/>
                  </a:cubicBezTo>
                  <a:cubicBezTo>
                    <a:pt x="702" y="92"/>
                    <a:pt x="702" y="92"/>
                    <a:pt x="702" y="92"/>
                  </a:cubicBezTo>
                  <a:cubicBezTo>
                    <a:pt x="702" y="101"/>
                    <a:pt x="702" y="101"/>
                    <a:pt x="702" y="101"/>
                  </a:cubicBezTo>
                  <a:cubicBezTo>
                    <a:pt x="706" y="106"/>
                    <a:pt x="706" y="106"/>
                    <a:pt x="706" y="106"/>
                  </a:cubicBezTo>
                  <a:cubicBezTo>
                    <a:pt x="706" y="115"/>
                    <a:pt x="706" y="115"/>
                    <a:pt x="706" y="115"/>
                  </a:cubicBezTo>
                  <a:cubicBezTo>
                    <a:pt x="711" y="124"/>
                    <a:pt x="711" y="124"/>
                    <a:pt x="711" y="124"/>
                  </a:cubicBezTo>
                  <a:cubicBezTo>
                    <a:pt x="715" y="124"/>
                    <a:pt x="715" y="124"/>
                    <a:pt x="715" y="124"/>
                  </a:cubicBezTo>
                  <a:cubicBezTo>
                    <a:pt x="715" y="128"/>
                    <a:pt x="715" y="128"/>
                    <a:pt x="715" y="128"/>
                  </a:cubicBezTo>
                  <a:cubicBezTo>
                    <a:pt x="711" y="128"/>
                    <a:pt x="711" y="128"/>
                    <a:pt x="711" y="128"/>
                  </a:cubicBezTo>
                  <a:cubicBezTo>
                    <a:pt x="688" y="128"/>
                    <a:pt x="688" y="128"/>
                    <a:pt x="688" y="128"/>
                  </a:cubicBezTo>
                  <a:cubicBezTo>
                    <a:pt x="688" y="133"/>
                    <a:pt x="688" y="133"/>
                    <a:pt x="688" y="133"/>
                  </a:cubicBezTo>
                  <a:cubicBezTo>
                    <a:pt x="683" y="142"/>
                    <a:pt x="683" y="142"/>
                    <a:pt x="683" y="142"/>
                  </a:cubicBezTo>
                  <a:cubicBezTo>
                    <a:pt x="683" y="147"/>
                    <a:pt x="683" y="147"/>
                    <a:pt x="683" y="147"/>
                  </a:cubicBezTo>
                  <a:cubicBezTo>
                    <a:pt x="683" y="151"/>
                    <a:pt x="683" y="151"/>
                    <a:pt x="683" y="151"/>
                  </a:cubicBezTo>
                  <a:cubicBezTo>
                    <a:pt x="679" y="156"/>
                    <a:pt x="679" y="156"/>
                    <a:pt x="679" y="156"/>
                  </a:cubicBezTo>
                  <a:cubicBezTo>
                    <a:pt x="679" y="160"/>
                    <a:pt x="679" y="160"/>
                    <a:pt x="679" y="160"/>
                  </a:cubicBezTo>
                  <a:cubicBezTo>
                    <a:pt x="670" y="160"/>
                    <a:pt x="670" y="160"/>
                    <a:pt x="670" y="160"/>
                  </a:cubicBezTo>
                  <a:cubicBezTo>
                    <a:pt x="670" y="165"/>
                    <a:pt x="670" y="165"/>
                    <a:pt x="670" y="165"/>
                  </a:cubicBezTo>
                  <a:cubicBezTo>
                    <a:pt x="670" y="170"/>
                    <a:pt x="670" y="170"/>
                    <a:pt x="670" y="170"/>
                  </a:cubicBezTo>
                  <a:cubicBezTo>
                    <a:pt x="670" y="174"/>
                    <a:pt x="670" y="174"/>
                    <a:pt x="670" y="174"/>
                  </a:cubicBezTo>
                  <a:cubicBezTo>
                    <a:pt x="674" y="179"/>
                    <a:pt x="674" y="179"/>
                    <a:pt x="674" y="179"/>
                  </a:cubicBezTo>
                  <a:cubicBezTo>
                    <a:pt x="683" y="188"/>
                    <a:pt x="683" y="188"/>
                    <a:pt x="683" y="188"/>
                  </a:cubicBezTo>
                  <a:cubicBezTo>
                    <a:pt x="683" y="193"/>
                    <a:pt x="683" y="193"/>
                    <a:pt x="683" y="193"/>
                  </a:cubicBezTo>
                  <a:cubicBezTo>
                    <a:pt x="679" y="193"/>
                    <a:pt x="679" y="193"/>
                    <a:pt x="679" y="193"/>
                  </a:cubicBezTo>
                  <a:cubicBezTo>
                    <a:pt x="674" y="193"/>
                    <a:pt x="674" y="193"/>
                    <a:pt x="674" y="193"/>
                  </a:cubicBezTo>
                  <a:cubicBezTo>
                    <a:pt x="670" y="188"/>
                    <a:pt x="670" y="188"/>
                    <a:pt x="670" y="188"/>
                  </a:cubicBezTo>
                  <a:cubicBezTo>
                    <a:pt x="665" y="183"/>
                    <a:pt x="665" y="183"/>
                    <a:pt x="665" y="183"/>
                  </a:cubicBezTo>
                  <a:cubicBezTo>
                    <a:pt x="660" y="183"/>
                    <a:pt x="660" y="183"/>
                    <a:pt x="660" y="183"/>
                  </a:cubicBezTo>
                  <a:cubicBezTo>
                    <a:pt x="656" y="183"/>
                    <a:pt x="656" y="183"/>
                    <a:pt x="656" y="183"/>
                  </a:cubicBezTo>
                  <a:cubicBezTo>
                    <a:pt x="651" y="183"/>
                    <a:pt x="651" y="183"/>
                    <a:pt x="651" y="183"/>
                  </a:cubicBezTo>
                  <a:cubicBezTo>
                    <a:pt x="650" y="183"/>
                    <a:pt x="649" y="183"/>
                    <a:pt x="648" y="183"/>
                  </a:cubicBezTo>
                  <a:cubicBezTo>
                    <a:pt x="633" y="183"/>
                    <a:pt x="633" y="183"/>
                    <a:pt x="633" y="183"/>
                  </a:cubicBezTo>
                  <a:cubicBezTo>
                    <a:pt x="628" y="183"/>
                    <a:pt x="628" y="183"/>
                    <a:pt x="628" y="183"/>
                  </a:cubicBezTo>
                  <a:cubicBezTo>
                    <a:pt x="624" y="179"/>
                    <a:pt x="624" y="179"/>
                    <a:pt x="624" y="179"/>
                  </a:cubicBezTo>
                  <a:cubicBezTo>
                    <a:pt x="619" y="179"/>
                    <a:pt x="619" y="179"/>
                    <a:pt x="619" y="179"/>
                  </a:cubicBezTo>
                  <a:cubicBezTo>
                    <a:pt x="615" y="174"/>
                    <a:pt x="615" y="174"/>
                    <a:pt x="615" y="174"/>
                  </a:cubicBezTo>
                  <a:cubicBezTo>
                    <a:pt x="610" y="170"/>
                    <a:pt x="610" y="170"/>
                    <a:pt x="610" y="170"/>
                  </a:cubicBezTo>
                  <a:cubicBezTo>
                    <a:pt x="605" y="165"/>
                    <a:pt x="605" y="165"/>
                    <a:pt x="605" y="165"/>
                  </a:cubicBezTo>
                  <a:cubicBezTo>
                    <a:pt x="601" y="156"/>
                    <a:pt x="601" y="156"/>
                    <a:pt x="601" y="156"/>
                  </a:cubicBezTo>
                  <a:cubicBezTo>
                    <a:pt x="596" y="151"/>
                    <a:pt x="596" y="151"/>
                    <a:pt x="596" y="151"/>
                  </a:cubicBezTo>
                  <a:cubicBezTo>
                    <a:pt x="592" y="147"/>
                    <a:pt x="592" y="147"/>
                    <a:pt x="592" y="147"/>
                  </a:cubicBezTo>
                  <a:cubicBezTo>
                    <a:pt x="587" y="142"/>
                    <a:pt x="587" y="142"/>
                    <a:pt x="587" y="142"/>
                  </a:cubicBezTo>
                  <a:cubicBezTo>
                    <a:pt x="573" y="138"/>
                    <a:pt x="573" y="138"/>
                    <a:pt x="573" y="138"/>
                  </a:cubicBezTo>
                  <a:cubicBezTo>
                    <a:pt x="569" y="138"/>
                    <a:pt x="569" y="138"/>
                    <a:pt x="569" y="138"/>
                  </a:cubicBezTo>
                  <a:cubicBezTo>
                    <a:pt x="564" y="138"/>
                    <a:pt x="564" y="138"/>
                    <a:pt x="564" y="138"/>
                  </a:cubicBezTo>
                  <a:cubicBezTo>
                    <a:pt x="555" y="138"/>
                    <a:pt x="555" y="138"/>
                    <a:pt x="555" y="138"/>
                  </a:cubicBezTo>
                  <a:cubicBezTo>
                    <a:pt x="550" y="142"/>
                    <a:pt x="550" y="142"/>
                    <a:pt x="550" y="142"/>
                  </a:cubicBezTo>
                  <a:cubicBezTo>
                    <a:pt x="546" y="142"/>
                    <a:pt x="546" y="142"/>
                    <a:pt x="546" y="142"/>
                  </a:cubicBezTo>
                  <a:cubicBezTo>
                    <a:pt x="541" y="147"/>
                    <a:pt x="541" y="147"/>
                    <a:pt x="541" y="147"/>
                  </a:cubicBezTo>
                  <a:cubicBezTo>
                    <a:pt x="537" y="151"/>
                    <a:pt x="537" y="151"/>
                    <a:pt x="537" y="151"/>
                  </a:cubicBezTo>
                  <a:cubicBezTo>
                    <a:pt x="532" y="151"/>
                    <a:pt x="532" y="151"/>
                    <a:pt x="532" y="151"/>
                  </a:cubicBezTo>
                  <a:cubicBezTo>
                    <a:pt x="514" y="151"/>
                    <a:pt x="514" y="151"/>
                    <a:pt x="514" y="151"/>
                  </a:cubicBezTo>
                  <a:cubicBezTo>
                    <a:pt x="514" y="156"/>
                    <a:pt x="514" y="156"/>
                    <a:pt x="514" y="156"/>
                  </a:cubicBezTo>
                  <a:cubicBezTo>
                    <a:pt x="509" y="160"/>
                    <a:pt x="509" y="160"/>
                    <a:pt x="509" y="160"/>
                  </a:cubicBezTo>
                  <a:cubicBezTo>
                    <a:pt x="495" y="174"/>
                    <a:pt x="495" y="174"/>
                    <a:pt x="495" y="174"/>
                  </a:cubicBezTo>
                  <a:cubicBezTo>
                    <a:pt x="491" y="174"/>
                    <a:pt x="491" y="174"/>
                    <a:pt x="491" y="174"/>
                  </a:cubicBezTo>
                  <a:cubicBezTo>
                    <a:pt x="482" y="188"/>
                    <a:pt x="482" y="188"/>
                    <a:pt x="482" y="188"/>
                  </a:cubicBezTo>
                  <a:cubicBezTo>
                    <a:pt x="477" y="193"/>
                    <a:pt x="477" y="193"/>
                    <a:pt x="477" y="193"/>
                  </a:cubicBezTo>
                  <a:cubicBezTo>
                    <a:pt x="472" y="197"/>
                    <a:pt x="472" y="197"/>
                    <a:pt x="472" y="197"/>
                  </a:cubicBezTo>
                  <a:cubicBezTo>
                    <a:pt x="463" y="206"/>
                    <a:pt x="463" y="206"/>
                    <a:pt x="463" y="206"/>
                  </a:cubicBezTo>
                  <a:cubicBezTo>
                    <a:pt x="459" y="211"/>
                    <a:pt x="459" y="211"/>
                    <a:pt x="459" y="211"/>
                  </a:cubicBezTo>
                  <a:cubicBezTo>
                    <a:pt x="459" y="215"/>
                    <a:pt x="459" y="215"/>
                    <a:pt x="459" y="215"/>
                  </a:cubicBezTo>
                  <a:cubicBezTo>
                    <a:pt x="454" y="225"/>
                    <a:pt x="454" y="225"/>
                    <a:pt x="454" y="225"/>
                  </a:cubicBezTo>
                  <a:cubicBezTo>
                    <a:pt x="449" y="234"/>
                    <a:pt x="449" y="234"/>
                    <a:pt x="449" y="234"/>
                  </a:cubicBezTo>
                  <a:cubicBezTo>
                    <a:pt x="449" y="238"/>
                    <a:pt x="449" y="238"/>
                    <a:pt x="449" y="238"/>
                  </a:cubicBezTo>
                  <a:cubicBezTo>
                    <a:pt x="445" y="248"/>
                    <a:pt x="445" y="248"/>
                    <a:pt x="445" y="248"/>
                  </a:cubicBezTo>
                  <a:cubicBezTo>
                    <a:pt x="445" y="252"/>
                    <a:pt x="445" y="252"/>
                    <a:pt x="445" y="252"/>
                  </a:cubicBezTo>
                  <a:cubicBezTo>
                    <a:pt x="445" y="261"/>
                    <a:pt x="445" y="261"/>
                    <a:pt x="445" y="261"/>
                  </a:cubicBezTo>
                  <a:cubicBezTo>
                    <a:pt x="440" y="266"/>
                    <a:pt x="440" y="266"/>
                    <a:pt x="440" y="266"/>
                  </a:cubicBezTo>
                  <a:cubicBezTo>
                    <a:pt x="436" y="266"/>
                    <a:pt x="436" y="266"/>
                    <a:pt x="436" y="266"/>
                  </a:cubicBezTo>
                  <a:cubicBezTo>
                    <a:pt x="431" y="266"/>
                    <a:pt x="431" y="266"/>
                    <a:pt x="431" y="266"/>
                  </a:cubicBezTo>
                  <a:cubicBezTo>
                    <a:pt x="431" y="261"/>
                    <a:pt x="431" y="261"/>
                    <a:pt x="431" y="261"/>
                  </a:cubicBezTo>
                  <a:cubicBezTo>
                    <a:pt x="427" y="257"/>
                    <a:pt x="427" y="257"/>
                    <a:pt x="427" y="257"/>
                  </a:cubicBezTo>
                  <a:cubicBezTo>
                    <a:pt x="417" y="257"/>
                    <a:pt x="417" y="257"/>
                    <a:pt x="417" y="257"/>
                  </a:cubicBezTo>
                  <a:cubicBezTo>
                    <a:pt x="413" y="252"/>
                    <a:pt x="413" y="252"/>
                    <a:pt x="413" y="252"/>
                  </a:cubicBezTo>
                  <a:cubicBezTo>
                    <a:pt x="408" y="257"/>
                    <a:pt x="408" y="257"/>
                    <a:pt x="408" y="257"/>
                  </a:cubicBezTo>
                  <a:cubicBezTo>
                    <a:pt x="399" y="257"/>
                    <a:pt x="399" y="257"/>
                    <a:pt x="399" y="257"/>
                  </a:cubicBezTo>
                  <a:cubicBezTo>
                    <a:pt x="399" y="266"/>
                    <a:pt x="399" y="266"/>
                    <a:pt x="399" y="266"/>
                  </a:cubicBezTo>
                  <a:cubicBezTo>
                    <a:pt x="404" y="270"/>
                    <a:pt x="404" y="270"/>
                    <a:pt x="404" y="270"/>
                  </a:cubicBezTo>
                  <a:cubicBezTo>
                    <a:pt x="404" y="275"/>
                    <a:pt x="404" y="275"/>
                    <a:pt x="404" y="275"/>
                  </a:cubicBezTo>
                  <a:cubicBezTo>
                    <a:pt x="408" y="275"/>
                    <a:pt x="408" y="275"/>
                    <a:pt x="408" y="275"/>
                  </a:cubicBezTo>
                  <a:cubicBezTo>
                    <a:pt x="408" y="280"/>
                    <a:pt x="408" y="280"/>
                    <a:pt x="408" y="280"/>
                  </a:cubicBezTo>
                  <a:cubicBezTo>
                    <a:pt x="413" y="284"/>
                    <a:pt x="413" y="284"/>
                    <a:pt x="413" y="284"/>
                  </a:cubicBezTo>
                  <a:cubicBezTo>
                    <a:pt x="413" y="289"/>
                    <a:pt x="413" y="289"/>
                    <a:pt x="413" y="289"/>
                  </a:cubicBezTo>
                  <a:cubicBezTo>
                    <a:pt x="413" y="302"/>
                    <a:pt x="413" y="302"/>
                    <a:pt x="413" y="302"/>
                  </a:cubicBezTo>
                  <a:cubicBezTo>
                    <a:pt x="413" y="307"/>
                    <a:pt x="413" y="307"/>
                    <a:pt x="413" y="307"/>
                  </a:cubicBezTo>
                  <a:cubicBezTo>
                    <a:pt x="408" y="307"/>
                    <a:pt x="408" y="307"/>
                    <a:pt x="408" y="307"/>
                  </a:cubicBezTo>
                  <a:cubicBezTo>
                    <a:pt x="404" y="293"/>
                    <a:pt x="404" y="293"/>
                    <a:pt x="404" y="293"/>
                  </a:cubicBezTo>
                  <a:cubicBezTo>
                    <a:pt x="399" y="289"/>
                    <a:pt x="399" y="289"/>
                    <a:pt x="399" y="289"/>
                  </a:cubicBezTo>
                  <a:cubicBezTo>
                    <a:pt x="399" y="280"/>
                    <a:pt x="399" y="280"/>
                    <a:pt x="399" y="280"/>
                  </a:cubicBezTo>
                  <a:cubicBezTo>
                    <a:pt x="390" y="270"/>
                    <a:pt x="390" y="270"/>
                    <a:pt x="390" y="270"/>
                  </a:cubicBezTo>
                  <a:cubicBezTo>
                    <a:pt x="381" y="270"/>
                    <a:pt x="381" y="270"/>
                    <a:pt x="381" y="270"/>
                  </a:cubicBezTo>
                  <a:cubicBezTo>
                    <a:pt x="372" y="270"/>
                    <a:pt x="372" y="270"/>
                    <a:pt x="372" y="270"/>
                  </a:cubicBezTo>
                  <a:cubicBezTo>
                    <a:pt x="372" y="275"/>
                    <a:pt x="372" y="275"/>
                    <a:pt x="372" y="275"/>
                  </a:cubicBezTo>
                  <a:cubicBezTo>
                    <a:pt x="367" y="275"/>
                    <a:pt x="367" y="275"/>
                    <a:pt x="367" y="275"/>
                  </a:cubicBezTo>
                  <a:cubicBezTo>
                    <a:pt x="367" y="289"/>
                    <a:pt x="367" y="289"/>
                    <a:pt x="367" y="289"/>
                  </a:cubicBezTo>
                  <a:cubicBezTo>
                    <a:pt x="362" y="293"/>
                    <a:pt x="362" y="293"/>
                    <a:pt x="362" y="293"/>
                  </a:cubicBezTo>
                  <a:cubicBezTo>
                    <a:pt x="358" y="293"/>
                    <a:pt x="358" y="293"/>
                    <a:pt x="358" y="293"/>
                  </a:cubicBezTo>
                  <a:cubicBezTo>
                    <a:pt x="353" y="298"/>
                    <a:pt x="353" y="298"/>
                    <a:pt x="353" y="298"/>
                  </a:cubicBezTo>
                  <a:cubicBezTo>
                    <a:pt x="349" y="302"/>
                    <a:pt x="349" y="302"/>
                    <a:pt x="349" y="302"/>
                  </a:cubicBezTo>
                  <a:cubicBezTo>
                    <a:pt x="344" y="307"/>
                    <a:pt x="344" y="307"/>
                    <a:pt x="344" y="307"/>
                  </a:cubicBezTo>
                  <a:cubicBezTo>
                    <a:pt x="344" y="316"/>
                    <a:pt x="344" y="316"/>
                    <a:pt x="344" y="316"/>
                  </a:cubicBezTo>
                  <a:cubicBezTo>
                    <a:pt x="349" y="321"/>
                    <a:pt x="349" y="321"/>
                    <a:pt x="349" y="321"/>
                  </a:cubicBezTo>
                  <a:cubicBezTo>
                    <a:pt x="349" y="325"/>
                    <a:pt x="349" y="325"/>
                    <a:pt x="349" y="325"/>
                  </a:cubicBezTo>
                  <a:cubicBezTo>
                    <a:pt x="353" y="330"/>
                    <a:pt x="353" y="330"/>
                    <a:pt x="353" y="330"/>
                  </a:cubicBezTo>
                  <a:cubicBezTo>
                    <a:pt x="358" y="335"/>
                    <a:pt x="358" y="335"/>
                    <a:pt x="358" y="335"/>
                  </a:cubicBezTo>
                  <a:cubicBezTo>
                    <a:pt x="362" y="339"/>
                    <a:pt x="362" y="339"/>
                    <a:pt x="362" y="339"/>
                  </a:cubicBezTo>
                  <a:cubicBezTo>
                    <a:pt x="362" y="348"/>
                    <a:pt x="362" y="348"/>
                    <a:pt x="362" y="348"/>
                  </a:cubicBezTo>
                  <a:cubicBezTo>
                    <a:pt x="353" y="353"/>
                    <a:pt x="353" y="353"/>
                    <a:pt x="353" y="353"/>
                  </a:cubicBezTo>
                  <a:cubicBezTo>
                    <a:pt x="349" y="353"/>
                    <a:pt x="349" y="353"/>
                    <a:pt x="349" y="353"/>
                  </a:cubicBezTo>
                  <a:cubicBezTo>
                    <a:pt x="339" y="357"/>
                    <a:pt x="339" y="357"/>
                    <a:pt x="339" y="357"/>
                  </a:cubicBezTo>
                  <a:cubicBezTo>
                    <a:pt x="330" y="371"/>
                    <a:pt x="330" y="371"/>
                    <a:pt x="330" y="371"/>
                  </a:cubicBezTo>
                  <a:cubicBezTo>
                    <a:pt x="326" y="376"/>
                    <a:pt x="326" y="376"/>
                    <a:pt x="326" y="376"/>
                  </a:cubicBezTo>
                  <a:cubicBezTo>
                    <a:pt x="321" y="385"/>
                    <a:pt x="321" y="385"/>
                    <a:pt x="321" y="385"/>
                  </a:cubicBezTo>
                  <a:cubicBezTo>
                    <a:pt x="321" y="394"/>
                    <a:pt x="321" y="394"/>
                    <a:pt x="321" y="394"/>
                  </a:cubicBezTo>
                  <a:cubicBezTo>
                    <a:pt x="321" y="399"/>
                    <a:pt x="321" y="399"/>
                    <a:pt x="321" y="399"/>
                  </a:cubicBezTo>
                  <a:cubicBezTo>
                    <a:pt x="317" y="399"/>
                    <a:pt x="317" y="399"/>
                    <a:pt x="317" y="399"/>
                  </a:cubicBezTo>
                  <a:cubicBezTo>
                    <a:pt x="312" y="403"/>
                    <a:pt x="312" y="403"/>
                    <a:pt x="312" y="403"/>
                  </a:cubicBezTo>
                  <a:cubicBezTo>
                    <a:pt x="307" y="403"/>
                    <a:pt x="307" y="403"/>
                    <a:pt x="307" y="403"/>
                  </a:cubicBezTo>
                  <a:cubicBezTo>
                    <a:pt x="303" y="408"/>
                    <a:pt x="303" y="408"/>
                    <a:pt x="303" y="408"/>
                  </a:cubicBezTo>
                  <a:cubicBezTo>
                    <a:pt x="294" y="412"/>
                    <a:pt x="294" y="412"/>
                    <a:pt x="294" y="412"/>
                  </a:cubicBezTo>
                  <a:cubicBezTo>
                    <a:pt x="289" y="412"/>
                    <a:pt x="289" y="412"/>
                    <a:pt x="289" y="412"/>
                  </a:cubicBezTo>
                  <a:cubicBezTo>
                    <a:pt x="271" y="417"/>
                    <a:pt x="271" y="417"/>
                    <a:pt x="271" y="417"/>
                  </a:cubicBezTo>
                  <a:cubicBezTo>
                    <a:pt x="262" y="417"/>
                    <a:pt x="262" y="417"/>
                    <a:pt x="262" y="417"/>
                  </a:cubicBezTo>
                  <a:cubicBezTo>
                    <a:pt x="257" y="422"/>
                    <a:pt x="257" y="422"/>
                    <a:pt x="257" y="422"/>
                  </a:cubicBezTo>
                  <a:cubicBezTo>
                    <a:pt x="252" y="422"/>
                    <a:pt x="252" y="422"/>
                    <a:pt x="252" y="422"/>
                  </a:cubicBezTo>
                  <a:cubicBezTo>
                    <a:pt x="248" y="422"/>
                    <a:pt x="248" y="422"/>
                    <a:pt x="248" y="422"/>
                  </a:cubicBezTo>
                  <a:cubicBezTo>
                    <a:pt x="243" y="422"/>
                    <a:pt x="243" y="422"/>
                    <a:pt x="243" y="422"/>
                  </a:cubicBezTo>
                  <a:cubicBezTo>
                    <a:pt x="239" y="417"/>
                    <a:pt x="239" y="417"/>
                    <a:pt x="239" y="417"/>
                  </a:cubicBezTo>
                  <a:cubicBezTo>
                    <a:pt x="234" y="417"/>
                    <a:pt x="234" y="417"/>
                    <a:pt x="234" y="417"/>
                  </a:cubicBezTo>
                  <a:cubicBezTo>
                    <a:pt x="220" y="426"/>
                    <a:pt x="220" y="426"/>
                    <a:pt x="220" y="426"/>
                  </a:cubicBezTo>
                  <a:cubicBezTo>
                    <a:pt x="206" y="435"/>
                    <a:pt x="206" y="435"/>
                    <a:pt x="206" y="435"/>
                  </a:cubicBezTo>
                  <a:cubicBezTo>
                    <a:pt x="197" y="440"/>
                    <a:pt x="197" y="440"/>
                    <a:pt x="197" y="440"/>
                  </a:cubicBezTo>
                  <a:cubicBezTo>
                    <a:pt x="184" y="449"/>
                    <a:pt x="184" y="449"/>
                    <a:pt x="184" y="449"/>
                  </a:cubicBezTo>
                  <a:cubicBezTo>
                    <a:pt x="179" y="454"/>
                    <a:pt x="179" y="454"/>
                    <a:pt x="179" y="454"/>
                  </a:cubicBezTo>
                  <a:cubicBezTo>
                    <a:pt x="174" y="454"/>
                    <a:pt x="174" y="454"/>
                    <a:pt x="174" y="454"/>
                  </a:cubicBezTo>
                  <a:cubicBezTo>
                    <a:pt x="170" y="454"/>
                    <a:pt x="170" y="454"/>
                    <a:pt x="170" y="454"/>
                  </a:cubicBezTo>
                  <a:cubicBezTo>
                    <a:pt x="165" y="454"/>
                    <a:pt x="165" y="454"/>
                    <a:pt x="165" y="454"/>
                  </a:cubicBezTo>
                  <a:cubicBezTo>
                    <a:pt x="161" y="454"/>
                    <a:pt x="161" y="454"/>
                    <a:pt x="161" y="454"/>
                  </a:cubicBezTo>
                  <a:cubicBezTo>
                    <a:pt x="156" y="454"/>
                    <a:pt x="156" y="454"/>
                    <a:pt x="156" y="454"/>
                  </a:cubicBezTo>
                  <a:cubicBezTo>
                    <a:pt x="151" y="454"/>
                    <a:pt x="151" y="454"/>
                    <a:pt x="151" y="454"/>
                  </a:cubicBezTo>
                  <a:cubicBezTo>
                    <a:pt x="142" y="454"/>
                    <a:pt x="142" y="454"/>
                    <a:pt x="142" y="454"/>
                  </a:cubicBezTo>
                  <a:cubicBezTo>
                    <a:pt x="138" y="458"/>
                    <a:pt x="138" y="458"/>
                    <a:pt x="138" y="458"/>
                  </a:cubicBezTo>
                  <a:cubicBezTo>
                    <a:pt x="124" y="463"/>
                    <a:pt x="124" y="463"/>
                    <a:pt x="124" y="463"/>
                  </a:cubicBezTo>
                  <a:cubicBezTo>
                    <a:pt x="115" y="467"/>
                    <a:pt x="115" y="467"/>
                    <a:pt x="115" y="467"/>
                  </a:cubicBezTo>
                  <a:cubicBezTo>
                    <a:pt x="110" y="472"/>
                    <a:pt x="110" y="472"/>
                    <a:pt x="110" y="472"/>
                  </a:cubicBezTo>
                  <a:cubicBezTo>
                    <a:pt x="101" y="476"/>
                    <a:pt x="101" y="476"/>
                    <a:pt x="101" y="476"/>
                  </a:cubicBezTo>
                  <a:cubicBezTo>
                    <a:pt x="96" y="476"/>
                    <a:pt x="96" y="476"/>
                    <a:pt x="96" y="476"/>
                  </a:cubicBezTo>
                  <a:cubicBezTo>
                    <a:pt x="92" y="481"/>
                    <a:pt x="92" y="481"/>
                    <a:pt x="92" y="481"/>
                  </a:cubicBezTo>
                  <a:cubicBezTo>
                    <a:pt x="87" y="486"/>
                    <a:pt x="87" y="486"/>
                    <a:pt x="87" y="486"/>
                  </a:cubicBezTo>
                  <a:cubicBezTo>
                    <a:pt x="83" y="490"/>
                    <a:pt x="83" y="490"/>
                    <a:pt x="83" y="490"/>
                  </a:cubicBezTo>
                  <a:cubicBezTo>
                    <a:pt x="74" y="499"/>
                    <a:pt x="74" y="499"/>
                    <a:pt x="74" y="499"/>
                  </a:cubicBezTo>
                  <a:cubicBezTo>
                    <a:pt x="74" y="504"/>
                    <a:pt x="74" y="504"/>
                    <a:pt x="74" y="504"/>
                  </a:cubicBezTo>
                  <a:cubicBezTo>
                    <a:pt x="69" y="509"/>
                    <a:pt x="69" y="509"/>
                    <a:pt x="69" y="509"/>
                  </a:cubicBezTo>
                  <a:cubicBezTo>
                    <a:pt x="64" y="513"/>
                    <a:pt x="64" y="513"/>
                    <a:pt x="64" y="513"/>
                  </a:cubicBezTo>
                  <a:cubicBezTo>
                    <a:pt x="60" y="513"/>
                    <a:pt x="60" y="513"/>
                    <a:pt x="60" y="513"/>
                  </a:cubicBezTo>
                  <a:cubicBezTo>
                    <a:pt x="55" y="518"/>
                    <a:pt x="55" y="518"/>
                    <a:pt x="55" y="518"/>
                  </a:cubicBezTo>
                  <a:cubicBezTo>
                    <a:pt x="51" y="522"/>
                    <a:pt x="51" y="522"/>
                    <a:pt x="51" y="522"/>
                  </a:cubicBezTo>
                  <a:cubicBezTo>
                    <a:pt x="46" y="531"/>
                    <a:pt x="46" y="531"/>
                    <a:pt x="46" y="531"/>
                  </a:cubicBezTo>
                  <a:cubicBezTo>
                    <a:pt x="41" y="536"/>
                    <a:pt x="41" y="536"/>
                    <a:pt x="41" y="536"/>
                  </a:cubicBezTo>
                  <a:cubicBezTo>
                    <a:pt x="37" y="541"/>
                    <a:pt x="37" y="541"/>
                    <a:pt x="37" y="541"/>
                  </a:cubicBezTo>
                  <a:cubicBezTo>
                    <a:pt x="32" y="545"/>
                    <a:pt x="32" y="545"/>
                    <a:pt x="32" y="545"/>
                  </a:cubicBezTo>
                  <a:cubicBezTo>
                    <a:pt x="28" y="541"/>
                    <a:pt x="28" y="541"/>
                    <a:pt x="28" y="541"/>
                  </a:cubicBezTo>
                  <a:cubicBezTo>
                    <a:pt x="23" y="541"/>
                    <a:pt x="23" y="541"/>
                    <a:pt x="23" y="541"/>
                  </a:cubicBezTo>
                  <a:cubicBezTo>
                    <a:pt x="19" y="536"/>
                    <a:pt x="19" y="536"/>
                    <a:pt x="19" y="536"/>
                  </a:cubicBezTo>
                  <a:cubicBezTo>
                    <a:pt x="9" y="541"/>
                    <a:pt x="9" y="541"/>
                    <a:pt x="9" y="541"/>
                  </a:cubicBezTo>
                  <a:cubicBezTo>
                    <a:pt x="5" y="550"/>
                    <a:pt x="5" y="550"/>
                    <a:pt x="5" y="550"/>
                  </a:cubicBezTo>
                  <a:cubicBezTo>
                    <a:pt x="0" y="554"/>
                    <a:pt x="0" y="554"/>
                    <a:pt x="0" y="554"/>
                  </a:cubicBezTo>
                  <a:cubicBezTo>
                    <a:pt x="0" y="564"/>
                    <a:pt x="0" y="564"/>
                    <a:pt x="0" y="564"/>
                  </a:cubicBezTo>
                  <a:cubicBezTo>
                    <a:pt x="9" y="577"/>
                    <a:pt x="9" y="577"/>
                    <a:pt x="9" y="577"/>
                  </a:cubicBezTo>
                  <a:cubicBezTo>
                    <a:pt x="9" y="586"/>
                    <a:pt x="9" y="586"/>
                    <a:pt x="9" y="586"/>
                  </a:cubicBezTo>
                  <a:cubicBezTo>
                    <a:pt x="9" y="596"/>
                    <a:pt x="9" y="596"/>
                    <a:pt x="9" y="596"/>
                  </a:cubicBezTo>
                  <a:cubicBezTo>
                    <a:pt x="9" y="605"/>
                    <a:pt x="9" y="605"/>
                    <a:pt x="9" y="605"/>
                  </a:cubicBezTo>
                  <a:cubicBezTo>
                    <a:pt x="5" y="614"/>
                    <a:pt x="5" y="614"/>
                    <a:pt x="5" y="614"/>
                  </a:cubicBezTo>
                  <a:cubicBezTo>
                    <a:pt x="5" y="623"/>
                    <a:pt x="5" y="623"/>
                    <a:pt x="5" y="623"/>
                  </a:cubicBezTo>
                  <a:cubicBezTo>
                    <a:pt x="5" y="637"/>
                    <a:pt x="5" y="637"/>
                    <a:pt x="5" y="637"/>
                  </a:cubicBezTo>
                  <a:cubicBezTo>
                    <a:pt x="5" y="646"/>
                    <a:pt x="5" y="646"/>
                    <a:pt x="5" y="646"/>
                  </a:cubicBezTo>
                  <a:cubicBezTo>
                    <a:pt x="5" y="651"/>
                    <a:pt x="5" y="651"/>
                    <a:pt x="5" y="651"/>
                  </a:cubicBezTo>
                  <a:cubicBezTo>
                    <a:pt x="9" y="660"/>
                    <a:pt x="9" y="660"/>
                    <a:pt x="9" y="660"/>
                  </a:cubicBezTo>
                  <a:cubicBezTo>
                    <a:pt x="14" y="664"/>
                    <a:pt x="14" y="664"/>
                    <a:pt x="14" y="664"/>
                  </a:cubicBezTo>
                  <a:cubicBezTo>
                    <a:pt x="19" y="673"/>
                    <a:pt x="19" y="673"/>
                    <a:pt x="19" y="673"/>
                  </a:cubicBezTo>
                  <a:cubicBezTo>
                    <a:pt x="28" y="687"/>
                    <a:pt x="28" y="687"/>
                    <a:pt x="28" y="687"/>
                  </a:cubicBezTo>
                  <a:cubicBezTo>
                    <a:pt x="32" y="692"/>
                    <a:pt x="32" y="692"/>
                    <a:pt x="32" y="692"/>
                  </a:cubicBezTo>
                  <a:cubicBezTo>
                    <a:pt x="37" y="701"/>
                    <a:pt x="37" y="701"/>
                    <a:pt x="37" y="701"/>
                  </a:cubicBezTo>
                  <a:cubicBezTo>
                    <a:pt x="46" y="715"/>
                    <a:pt x="46" y="715"/>
                    <a:pt x="46" y="715"/>
                  </a:cubicBezTo>
                  <a:cubicBezTo>
                    <a:pt x="51" y="719"/>
                    <a:pt x="51" y="719"/>
                    <a:pt x="51" y="719"/>
                  </a:cubicBezTo>
                  <a:cubicBezTo>
                    <a:pt x="51" y="724"/>
                    <a:pt x="51" y="724"/>
                    <a:pt x="51" y="724"/>
                  </a:cubicBezTo>
                  <a:cubicBezTo>
                    <a:pt x="55" y="728"/>
                    <a:pt x="55" y="728"/>
                    <a:pt x="55" y="728"/>
                  </a:cubicBezTo>
                  <a:cubicBezTo>
                    <a:pt x="55" y="733"/>
                    <a:pt x="55" y="733"/>
                    <a:pt x="55" y="733"/>
                  </a:cubicBezTo>
                  <a:cubicBezTo>
                    <a:pt x="51" y="733"/>
                    <a:pt x="51" y="733"/>
                    <a:pt x="51" y="733"/>
                  </a:cubicBezTo>
                  <a:cubicBezTo>
                    <a:pt x="46" y="733"/>
                    <a:pt x="46" y="733"/>
                    <a:pt x="46" y="733"/>
                  </a:cubicBezTo>
                  <a:cubicBezTo>
                    <a:pt x="41" y="733"/>
                    <a:pt x="41" y="733"/>
                    <a:pt x="41" y="733"/>
                  </a:cubicBezTo>
                  <a:cubicBezTo>
                    <a:pt x="41" y="728"/>
                    <a:pt x="41" y="728"/>
                    <a:pt x="41" y="728"/>
                  </a:cubicBezTo>
                  <a:cubicBezTo>
                    <a:pt x="37" y="724"/>
                    <a:pt x="37" y="724"/>
                    <a:pt x="37" y="724"/>
                  </a:cubicBezTo>
                  <a:cubicBezTo>
                    <a:pt x="37" y="719"/>
                    <a:pt x="37" y="719"/>
                    <a:pt x="37" y="719"/>
                  </a:cubicBezTo>
                  <a:cubicBezTo>
                    <a:pt x="32" y="719"/>
                    <a:pt x="32" y="719"/>
                    <a:pt x="32" y="719"/>
                  </a:cubicBezTo>
                  <a:cubicBezTo>
                    <a:pt x="28" y="715"/>
                    <a:pt x="28" y="715"/>
                    <a:pt x="28" y="715"/>
                  </a:cubicBezTo>
                  <a:cubicBezTo>
                    <a:pt x="19" y="715"/>
                    <a:pt x="19" y="715"/>
                    <a:pt x="19" y="715"/>
                  </a:cubicBezTo>
                  <a:cubicBezTo>
                    <a:pt x="14" y="719"/>
                    <a:pt x="14" y="719"/>
                    <a:pt x="14" y="719"/>
                  </a:cubicBezTo>
                  <a:cubicBezTo>
                    <a:pt x="9" y="728"/>
                    <a:pt x="9" y="728"/>
                    <a:pt x="9" y="728"/>
                  </a:cubicBezTo>
                  <a:cubicBezTo>
                    <a:pt x="9" y="733"/>
                    <a:pt x="9" y="733"/>
                    <a:pt x="9" y="733"/>
                  </a:cubicBezTo>
                  <a:cubicBezTo>
                    <a:pt x="9" y="742"/>
                    <a:pt x="9" y="742"/>
                    <a:pt x="9" y="742"/>
                  </a:cubicBezTo>
                  <a:cubicBezTo>
                    <a:pt x="14" y="751"/>
                    <a:pt x="14" y="751"/>
                    <a:pt x="14" y="751"/>
                  </a:cubicBezTo>
                  <a:cubicBezTo>
                    <a:pt x="19" y="756"/>
                    <a:pt x="19" y="756"/>
                    <a:pt x="19" y="756"/>
                  </a:cubicBezTo>
                  <a:cubicBezTo>
                    <a:pt x="19" y="760"/>
                    <a:pt x="19" y="760"/>
                    <a:pt x="19" y="760"/>
                  </a:cubicBezTo>
                  <a:cubicBezTo>
                    <a:pt x="23" y="760"/>
                    <a:pt x="23" y="760"/>
                    <a:pt x="23" y="760"/>
                  </a:cubicBezTo>
                  <a:cubicBezTo>
                    <a:pt x="28" y="770"/>
                    <a:pt x="28" y="770"/>
                    <a:pt x="28" y="770"/>
                  </a:cubicBezTo>
                  <a:cubicBezTo>
                    <a:pt x="32" y="774"/>
                    <a:pt x="32" y="774"/>
                    <a:pt x="32" y="774"/>
                  </a:cubicBezTo>
                  <a:cubicBezTo>
                    <a:pt x="41" y="783"/>
                    <a:pt x="41" y="783"/>
                    <a:pt x="41" y="783"/>
                  </a:cubicBezTo>
                  <a:cubicBezTo>
                    <a:pt x="46" y="788"/>
                    <a:pt x="46" y="788"/>
                    <a:pt x="46" y="788"/>
                  </a:cubicBezTo>
                  <a:cubicBezTo>
                    <a:pt x="51" y="797"/>
                    <a:pt x="51" y="797"/>
                    <a:pt x="51" y="797"/>
                  </a:cubicBezTo>
                  <a:cubicBezTo>
                    <a:pt x="55" y="802"/>
                    <a:pt x="55" y="802"/>
                    <a:pt x="55" y="802"/>
                  </a:cubicBezTo>
                  <a:cubicBezTo>
                    <a:pt x="69" y="829"/>
                    <a:pt x="69" y="829"/>
                    <a:pt x="69" y="829"/>
                  </a:cubicBezTo>
                  <a:cubicBezTo>
                    <a:pt x="74" y="834"/>
                    <a:pt x="74" y="834"/>
                    <a:pt x="74" y="834"/>
                  </a:cubicBezTo>
                  <a:cubicBezTo>
                    <a:pt x="78" y="843"/>
                    <a:pt x="78" y="843"/>
                    <a:pt x="78" y="843"/>
                  </a:cubicBezTo>
                  <a:cubicBezTo>
                    <a:pt x="83" y="847"/>
                    <a:pt x="83" y="847"/>
                    <a:pt x="83" y="847"/>
                  </a:cubicBezTo>
                  <a:cubicBezTo>
                    <a:pt x="87" y="852"/>
                    <a:pt x="87" y="852"/>
                    <a:pt x="87" y="852"/>
                  </a:cubicBezTo>
                  <a:cubicBezTo>
                    <a:pt x="92" y="857"/>
                    <a:pt x="92" y="857"/>
                    <a:pt x="92" y="857"/>
                  </a:cubicBezTo>
                  <a:cubicBezTo>
                    <a:pt x="92" y="866"/>
                    <a:pt x="92" y="866"/>
                    <a:pt x="92" y="866"/>
                  </a:cubicBezTo>
                  <a:cubicBezTo>
                    <a:pt x="96" y="866"/>
                    <a:pt x="96" y="866"/>
                    <a:pt x="96" y="866"/>
                  </a:cubicBezTo>
                  <a:cubicBezTo>
                    <a:pt x="96" y="870"/>
                    <a:pt x="96" y="870"/>
                    <a:pt x="96" y="870"/>
                  </a:cubicBezTo>
                  <a:cubicBezTo>
                    <a:pt x="106" y="880"/>
                    <a:pt x="106" y="880"/>
                    <a:pt x="106" y="880"/>
                  </a:cubicBezTo>
                  <a:cubicBezTo>
                    <a:pt x="106" y="884"/>
                    <a:pt x="106" y="884"/>
                    <a:pt x="106" y="884"/>
                  </a:cubicBezTo>
                  <a:cubicBezTo>
                    <a:pt x="110" y="889"/>
                    <a:pt x="110" y="889"/>
                    <a:pt x="110" y="889"/>
                  </a:cubicBezTo>
                  <a:cubicBezTo>
                    <a:pt x="115" y="893"/>
                    <a:pt x="115" y="893"/>
                    <a:pt x="115" y="893"/>
                  </a:cubicBezTo>
                  <a:cubicBezTo>
                    <a:pt x="115" y="898"/>
                    <a:pt x="115" y="898"/>
                    <a:pt x="115" y="898"/>
                  </a:cubicBezTo>
                  <a:cubicBezTo>
                    <a:pt x="110" y="912"/>
                    <a:pt x="110" y="912"/>
                    <a:pt x="110" y="912"/>
                  </a:cubicBezTo>
                  <a:cubicBezTo>
                    <a:pt x="115" y="925"/>
                    <a:pt x="115" y="925"/>
                    <a:pt x="115" y="925"/>
                  </a:cubicBezTo>
                  <a:cubicBezTo>
                    <a:pt x="115" y="930"/>
                    <a:pt x="115" y="930"/>
                    <a:pt x="115" y="930"/>
                  </a:cubicBezTo>
                  <a:cubicBezTo>
                    <a:pt x="119" y="944"/>
                    <a:pt x="119" y="944"/>
                    <a:pt x="119" y="944"/>
                  </a:cubicBezTo>
                  <a:cubicBezTo>
                    <a:pt x="124" y="953"/>
                    <a:pt x="124" y="953"/>
                    <a:pt x="124" y="953"/>
                  </a:cubicBezTo>
                  <a:cubicBezTo>
                    <a:pt x="129" y="962"/>
                    <a:pt x="129" y="962"/>
                    <a:pt x="129" y="962"/>
                  </a:cubicBezTo>
                  <a:cubicBezTo>
                    <a:pt x="133" y="976"/>
                    <a:pt x="133" y="976"/>
                    <a:pt x="133" y="976"/>
                  </a:cubicBezTo>
                  <a:cubicBezTo>
                    <a:pt x="138" y="985"/>
                    <a:pt x="138" y="985"/>
                    <a:pt x="138" y="985"/>
                  </a:cubicBezTo>
                  <a:cubicBezTo>
                    <a:pt x="142" y="994"/>
                    <a:pt x="142" y="994"/>
                    <a:pt x="142" y="994"/>
                  </a:cubicBezTo>
                  <a:cubicBezTo>
                    <a:pt x="142" y="1003"/>
                    <a:pt x="142" y="1003"/>
                    <a:pt x="142" y="1003"/>
                  </a:cubicBezTo>
                  <a:cubicBezTo>
                    <a:pt x="147" y="1017"/>
                    <a:pt x="147" y="1017"/>
                    <a:pt x="147" y="1017"/>
                  </a:cubicBezTo>
                  <a:cubicBezTo>
                    <a:pt x="147" y="1026"/>
                    <a:pt x="147" y="1026"/>
                    <a:pt x="147" y="1026"/>
                  </a:cubicBezTo>
                  <a:cubicBezTo>
                    <a:pt x="151" y="1035"/>
                    <a:pt x="151" y="1035"/>
                    <a:pt x="151" y="1035"/>
                  </a:cubicBezTo>
                  <a:cubicBezTo>
                    <a:pt x="151" y="1044"/>
                    <a:pt x="151" y="1044"/>
                    <a:pt x="151" y="1044"/>
                  </a:cubicBezTo>
                  <a:cubicBezTo>
                    <a:pt x="151" y="1049"/>
                    <a:pt x="151" y="1049"/>
                    <a:pt x="151" y="1049"/>
                  </a:cubicBezTo>
                  <a:cubicBezTo>
                    <a:pt x="151" y="1054"/>
                    <a:pt x="151" y="1054"/>
                    <a:pt x="151" y="1054"/>
                  </a:cubicBezTo>
                  <a:cubicBezTo>
                    <a:pt x="147" y="1054"/>
                    <a:pt x="147" y="1054"/>
                    <a:pt x="147" y="1054"/>
                  </a:cubicBezTo>
                  <a:cubicBezTo>
                    <a:pt x="142" y="1054"/>
                    <a:pt x="142" y="1054"/>
                    <a:pt x="142" y="1054"/>
                  </a:cubicBezTo>
                  <a:cubicBezTo>
                    <a:pt x="138" y="1058"/>
                    <a:pt x="138" y="1058"/>
                    <a:pt x="138" y="1058"/>
                  </a:cubicBezTo>
                  <a:cubicBezTo>
                    <a:pt x="138" y="1063"/>
                    <a:pt x="138" y="1063"/>
                    <a:pt x="138" y="1063"/>
                  </a:cubicBezTo>
                  <a:cubicBezTo>
                    <a:pt x="133" y="1063"/>
                    <a:pt x="133" y="1063"/>
                    <a:pt x="133" y="1063"/>
                  </a:cubicBezTo>
                  <a:cubicBezTo>
                    <a:pt x="133" y="1067"/>
                    <a:pt x="133" y="1067"/>
                    <a:pt x="133" y="1067"/>
                  </a:cubicBezTo>
                  <a:cubicBezTo>
                    <a:pt x="138" y="1072"/>
                    <a:pt x="138" y="1072"/>
                    <a:pt x="138" y="1072"/>
                  </a:cubicBezTo>
                  <a:cubicBezTo>
                    <a:pt x="142" y="1081"/>
                    <a:pt x="142" y="1081"/>
                    <a:pt x="142" y="1081"/>
                  </a:cubicBezTo>
                  <a:cubicBezTo>
                    <a:pt x="147" y="1090"/>
                    <a:pt x="147" y="1090"/>
                    <a:pt x="147" y="1090"/>
                  </a:cubicBezTo>
                  <a:cubicBezTo>
                    <a:pt x="156" y="1095"/>
                    <a:pt x="156" y="1095"/>
                    <a:pt x="156" y="1095"/>
                  </a:cubicBezTo>
                  <a:cubicBezTo>
                    <a:pt x="170" y="1109"/>
                    <a:pt x="170" y="1109"/>
                    <a:pt x="170" y="1109"/>
                  </a:cubicBezTo>
                  <a:cubicBezTo>
                    <a:pt x="179" y="1113"/>
                    <a:pt x="179" y="1113"/>
                    <a:pt x="179" y="1113"/>
                  </a:cubicBezTo>
                  <a:cubicBezTo>
                    <a:pt x="184" y="1122"/>
                    <a:pt x="184" y="1122"/>
                    <a:pt x="184" y="1122"/>
                  </a:cubicBezTo>
                  <a:cubicBezTo>
                    <a:pt x="193" y="1127"/>
                    <a:pt x="193" y="1127"/>
                    <a:pt x="193" y="1127"/>
                  </a:cubicBezTo>
                  <a:cubicBezTo>
                    <a:pt x="197" y="1131"/>
                    <a:pt x="197" y="1131"/>
                    <a:pt x="197" y="1131"/>
                  </a:cubicBezTo>
                  <a:cubicBezTo>
                    <a:pt x="202" y="1131"/>
                    <a:pt x="202" y="1131"/>
                    <a:pt x="202" y="1131"/>
                  </a:cubicBezTo>
                  <a:cubicBezTo>
                    <a:pt x="206" y="1136"/>
                    <a:pt x="206" y="1136"/>
                    <a:pt x="206" y="1136"/>
                  </a:cubicBezTo>
                  <a:cubicBezTo>
                    <a:pt x="216" y="1136"/>
                    <a:pt x="216" y="1136"/>
                    <a:pt x="216" y="1136"/>
                  </a:cubicBezTo>
                  <a:cubicBezTo>
                    <a:pt x="225" y="1136"/>
                    <a:pt x="225" y="1136"/>
                    <a:pt x="225" y="1136"/>
                  </a:cubicBezTo>
                  <a:cubicBezTo>
                    <a:pt x="229" y="1136"/>
                    <a:pt x="229" y="1136"/>
                    <a:pt x="229" y="1136"/>
                  </a:cubicBezTo>
                  <a:cubicBezTo>
                    <a:pt x="234" y="1131"/>
                    <a:pt x="234" y="1131"/>
                    <a:pt x="234" y="1131"/>
                  </a:cubicBezTo>
                  <a:cubicBezTo>
                    <a:pt x="239" y="1131"/>
                    <a:pt x="239" y="1131"/>
                    <a:pt x="239" y="1131"/>
                  </a:cubicBezTo>
                  <a:cubicBezTo>
                    <a:pt x="243" y="1131"/>
                    <a:pt x="243" y="1131"/>
                    <a:pt x="243" y="1131"/>
                  </a:cubicBezTo>
                  <a:cubicBezTo>
                    <a:pt x="252" y="1127"/>
                    <a:pt x="252" y="1127"/>
                    <a:pt x="252" y="1127"/>
                  </a:cubicBezTo>
                  <a:cubicBezTo>
                    <a:pt x="257" y="1122"/>
                    <a:pt x="257" y="1122"/>
                    <a:pt x="257" y="1122"/>
                  </a:cubicBezTo>
                  <a:cubicBezTo>
                    <a:pt x="262" y="1118"/>
                    <a:pt x="262" y="1118"/>
                    <a:pt x="262" y="1118"/>
                  </a:cubicBezTo>
                  <a:cubicBezTo>
                    <a:pt x="266" y="1113"/>
                    <a:pt x="266" y="1113"/>
                    <a:pt x="266" y="1113"/>
                  </a:cubicBezTo>
                  <a:cubicBezTo>
                    <a:pt x="275" y="1104"/>
                    <a:pt x="275" y="1104"/>
                    <a:pt x="275" y="1104"/>
                  </a:cubicBezTo>
                  <a:cubicBezTo>
                    <a:pt x="280" y="1099"/>
                    <a:pt x="280" y="1099"/>
                    <a:pt x="280" y="1099"/>
                  </a:cubicBezTo>
                  <a:cubicBezTo>
                    <a:pt x="294" y="1090"/>
                    <a:pt x="294" y="1090"/>
                    <a:pt x="294" y="1090"/>
                  </a:cubicBezTo>
                  <a:cubicBezTo>
                    <a:pt x="298" y="1090"/>
                    <a:pt x="298" y="1090"/>
                    <a:pt x="298" y="1090"/>
                  </a:cubicBezTo>
                  <a:cubicBezTo>
                    <a:pt x="303" y="1086"/>
                    <a:pt x="303" y="1086"/>
                    <a:pt x="303" y="1086"/>
                  </a:cubicBezTo>
                  <a:cubicBezTo>
                    <a:pt x="312" y="1090"/>
                    <a:pt x="312" y="1090"/>
                    <a:pt x="312" y="1090"/>
                  </a:cubicBezTo>
                  <a:cubicBezTo>
                    <a:pt x="321" y="1081"/>
                    <a:pt x="321" y="1081"/>
                    <a:pt x="321" y="1081"/>
                  </a:cubicBezTo>
                  <a:cubicBezTo>
                    <a:pt x="321" y="1076"/>
                    <a:pt x="321" y="1076"/>
                    <a:pt x="321" y="1076"/>
                  </a:cubicBezTo>
                  <a:cubicBezTo>
                    <a:pt x="326" y="1067"/>
                    <a:pt x="326" y="1067"/>
                    <a:pt x="326" y="1067"/>
                  </a:cubicBezTo>
                  <a:cubicBezTo>
                    <a:pt x="330" y="1063"/>
                    <a:pt x="330" y="1063"/>
                    <a:pt x="330" y="1063"/>
                  </a:cubicBezTo>
                  <a:cubicBezTo>
                    <a:pt x="335" y="1058"/>
                    <a:pt x="335" y="1058"/>
                    <a:pt x="335" y="1058"/>
                  </a:cubicBezTo>
                  <a:cubicBezTo>
                    <a:pt x="339" y="1054"/>
                    <a:pt x="339" y="1054"/>
                    <a:pt x="339" y="1054"/>
                  </a:cubicBezTo>
                  <a:cubicBezTo>
                    <a:pt x="344" y="1054"/>
                    <a:pt x="344" y="1054"/>
                    <a:pt x="344" y="1054"/>
                  </a:cubicBezTo>
                  <a:cubicBezTo>
                    <a:pt x="353" y="1049"/>
                    <a:pt x="353" y="1049"/>
                    <a:pt x="353" y="1049"/>
                  </a:cubicBezTo>
                  <a:cubicBezTo>
                    <a:pt x="367" y="1049"/>
                    <a:pt x="367" y="1049"/>
                    <a:pt x="367" y="1049"/>
                  </a:cubicBezTo>
                  <a:cubicBezTo>
                    <a:pt x="372" y="1054"/>
                    <a:pt x="372" y="1054"/>
                    <a:pt x="372" y="1054"/>
                  </a:cubicBezTo>
                  <a:cubicBezTo>
                    <a:pt x="376" y="1054"/>
                    <a:pt x="376" y="1054"/>
                    <a:pt x="376" y="1054"/>
                  </a:cubicBezTo>
                  <a:cubicBezTo>
                    <a:pt x="385" y="1054"/>
                    <a:pt x="385" y="1054"/>
                    <a:pt x="385" y="1054"/>
                  </a:cubicBezTo>
                  <a:cubicBezTo>
                    <a:pt x="390" y="1054"/>
                    <a:pt x="390" y="1054"/>
                    <a:pt x="390" y="1054"/>
                  </a:cubicBezTo>
                  <a:cubicBezTo>
                    <a:pt x="394" y="1054"/>
                    <a:pt x="394" y="1054"/>
                    <a:pt x="394" y="1054"/>
                  </a:cubicBezTo>
                  <a:cubicBezTo>
                    <a:pt x="399" y="1049"/>
                    <a:pt x="399" y="1049"/>
                    <a:pt x="399" y="1049"/>
                  </a:cubicBezTo>
                  <a:cubicBezTo>
                    <a:pt x="404" y="1049"/>
                    <a:pt x="404" y="1049"/>
                    <a:pt x="404" y="1049"/>
                  </a:cubicBezTo>
                  <a:cubicBezTo>
                    <a:pt x="404" y="1044"/>
                    <a:pt x="404" y="1044"/>
                    <a:pt x="404" y="1044"/>
                  </a:cubicBezTo>
                  <a:cubicBezTo>
                    <a:pt x="408" y="1044"/>
                    <a:pt x="408" y="1044"/>
                    <a:pt x="408" y="1044"/>
                  </a:cubicBezTo>
                  <a:cubicBezTo>
                    <a:pt x="422" y="1040"/>
                    <a:pt x="422" y="1040"/>
                    <a:pt x="422" y="1040"/>
                  </a:cubicBezTo>
                  <a:cubicBezTo>
                    <a:pt x="468" y="1040"/>
                    <a:pt x="468" y="1040"/>
                    <a:pt x="468" y="1040"/>
                  </a:cubicBezTo>
                  <a:cubicBezTo>
                    <a:pt x="472" y="1026"/>
                    <a:pt x="472" y="1026"/>
                    <a:pt x="472" y="1026"/>
                  </a:cubicBezTo>
                  <a:cubicBezTo>
                    <a:pt x="477" y="1021"/>
                    <a:pt x="477" y="1021"/>
                    <a:pt x="477" y="1021"/>
                  </a:cubicBezTo>
                  <a:cubicBezTo>
                    <a:pt x="482" y="1012"/>
                    <a:pt x="482" y="1012"/>
                    <a:pt x="482" y="1012"/>
                  </a:cubicBezTo>
                  <a:cubicBezTo>
                    <a:pt x="491" y="1008"/>
                    <a:pt x="491" y="1008"/>
                    <a:pt x="491" y="1008"/>
                  </a:cubicBezTo>
                  <a:cubicBezTo>
                    <a:pt x="504" y="994"/>
                    <a:pt x="504" y="994"/>
                    <a:pt x="504" y="994"/>
                  </a:cubicBezTo>
                  <a:cubicBezTo>
                    <a:pt x="518" y="985"/>
                    <a:pt x="518" y="985"/>
                    <a:pt x="518" y="985"/>
                  </a:cubicBezTo>
                  <a:cubicBezTo>
                    <a:pt x="527" y="980"/>
                    <a:pt x="527" y="980"/>
                    <a:pt x="527" y="980"/>
                  </a:cubicBezTo>
                  <a:cubicBezTo>
                    <a:pt x="537" y="980"/>
                    <a:pt x="537" y="980"/>
                    <a:pt x="537" y="980"/>
                  </a:cubicBezTo>
                  <a:cubicBezTo>
                    <a:pt x="546" y="976"/>
                    <a:pt x="546" y="976"/>
                    <a:pt x="546" y="976"/>
                  </a:cubicBezTo>
                  <a:cubicBezTo>
                    <a:pt x="555" y="976"/>
                    <a:pt x="555" y="976"/>
                    <a:pt x="555" y="976"/>
                  </a:cubicBezTo>
                  <a:cubicBezTo>
                    <a:pt x="564" y="971"/>
                    <a:pt x="564" y="971"/>
                    <a:pt x="564" y="971"/>
                  </a:cubicBezTo>
                  <a:cubicBezTo>
                    <a:pt x="573" y="971"/>
                    <a:pt x="573" y="971"/>
                    <a:pt x="573" y="971"/>
                  </a:cubicBezTo>
                  <a:cubicBezTo>
                    <a:pt x="582" y="971"/>
                    <a:pt x="582" y="971"/>
                    <a:pt x="582" y="971"/>
                  </a:cubicBezTo>
                  <a:cubicBezTo>
                    <a:pt x="601" y="971"/>
                    <a:pt x="601" y="971"/>
                    <a:pt x="601" y="971"/>
                  </a:cubicBezTo>
                  <a:cubicBezTo>
                    <a:pt x="605" y="971"/>
                    <a:pt x="605" y="971"/>
                    <a:pt x="605" y="971"/>
                  </a:cubicBezTo>
                  <a:cubicBezTo>
                    <a:pt x="615" y="967"/>
                    <a:pt x="615" y="967"/>
                    <a:pt x="615" y="967"/>
                  </a:cubicBezTo>
                  <a:cubicBezTo>
                    <a:pt x="619" y="967"/>
                    <a:pt x="619" y="967"/>
                    <a:pt x="619" y="967"/>
                  </a:cubicBezTo>
                  <a:cubicBezTo>
                    <a:pt x="628" y="962"/>
                    <a:pt x="628" y="962"/>
                    <a:pt x="628" y="962"/>
                  </a:cubicBezTo>
                  <a:cubicBezTo>
                    <a:pt x="633" y="957"/>
                    <a:pt x="633" y="957"/>
                    <a:pt x="633" y="957"/>
                  </a:cubicBezTo>
                  <a:cubicBezTo>
                    <a:pt x="637" y="953"/>
                    <a:pt x="637" y="953"/>
                    <a:pt x="637" y="953"/>
                  </a:cubicBezTo>
                  <a:cubicBezTo>
                    <a:pt x="642" y="948"/>
                    <a:pt x="642" y="948"/>
                    <a:pt x="642" y="948"/>
                  </a:cubicBezTo>
                  <a:cubicBezTo>
                    <a:pt x="651" y="948"/>
                    <a:pt x="651" y="948"/>
                    <a:pt x="651" y="948"/>
                  </a:cubicBezTo>
                  <a:cubicBezTo>
                    <a:pt x="651" y="944"/>
                    <a:pt x="651" y="944"/>
                    <a:pt x="651" y="944"/>
                  </a:cubicBezTo>
                  <a:cubicBezTo>
                    <a:pt x="656" y="944"/>
                    <a:pt x="656" y="944"/>
                    <a:pt x="656" y="944"/>
                  </a:cubicBezTo>
                  <a:cubicBezTo>
                    <a:pt x="660" y="939"/>
                    <a:pt x="660" y="939"/>
                    <a:pt x="660" y="939"/>
                  </a:cubicBezTo>
                  <a:cubicBezTo>
                    <a:pt x="665" y="939"/>
                    <a:pt x="665" y="939"/>
                    <a:pt x="665" y="939"/>
                  </a:cubicBezTo>
                  <a:cubicBezTo>
                    <a:pt x="670" y="939"/>
                    <a:pt x="670" y="939"/>
                    <a:pt x="670" y="939"/>
                  </a:cubicBezTo>
                  <a:cubicBezTo>
                    <a:pt x="674" y="934"/>
                    <a:pt x="674" y="934"/>
                    <a:pt x="674" y="934"/>
                  </a:cubicBezTo>
                  <a:cubicBezTo>
                    <a:pt x="679" y="934"/>
                    <a:pt x="679" y="934"/>
                    <a:pt x="679" y="934"/>
                  </a:cubicBezTo>
                  <a:cubicBezTo>
                    <a:pt x="683" y="934"/>
                    <a:pt x="683" y="934"/>
                    <a:pt x="683" y="934"/>
                  </a:cubicBezTo>
                  <a:cubicBezTo>
                    <a:pt x="688" y="930"/>
                    <a:pt x="688" y="930"/>
                    <a:pt x="688" y="930"/>
                  </a:cubicBezTo>
                  <a:cubicBezTo>
                    <a:pt x="692" y="930"/>
                    <a:pt x="692" y="930"/>
                    <a:pt x="692" y="930"/>
                  </a:cubicBezTo>
                  <a:cubicBezTo>
                    <a:pt x="693" y="930"/>
                    <a:pt x="693" y="930"/>
                    <a:pt x="693" y="929"/>
                  </a:cubicBezTo>
                  <a:cubicBezTo>
                    <a:pt x="697" y="925"/>
                    <a:pt x="697" y="925"/>
                    <a:pt x="697" y="925"/>
                  </a:cubicBezTo>
                  <a:cubicBezTo>
                    <a:pt x="706" y="925"/>
                    <a:pt x="706" y="925"/>
                    <a:pt x="706" y="925"/>
                  </a:cubicBezTo>
                  <a:cubicBezTo>
                    <a:pt x="711" y="925"/>
                    <a:pt x="711" y="925"/>
                    <a:pt x="711" y="925"/>
                  </a:cubicBezTo>
                  <a:cubicBezTo>
                    <a:pt x="720" y="925"/>
                    <a:pt x="720" y="925"/>
                    <a:pt x="720" y="925"/>
                  </a:cubicBezTo>
                  <a:cubicBezTo>
                    <a:pt x="725" y="925"/>
                    <a:pt x="725" y="925"/>
                    <a:pt x="725" y="925"/>
                  </a:cubicBezTo>
                  <a:cubicBezTo>
                    <a:pt x="738" y="925"/>
                    <a:pt x="738" y="925"/>
                    <a:pt x="738" y="925"/>
                  </a:cubicBezTo>
                  <a:cubicBezTo>
                    <a:pt x="743" y="925"/>
                    <a:pt x="743" y="925"/>
                    <a:pt x="743" y="925"/>
                  </a:cubicBezTo>
                  <a:cubicBezTo>
                    <a:pt x="747" y="925"/>
                    <a:pt x="747" y="925"/>
                    <a:pt x="747" y="925"/>
                  </a:cubicBezTo>
                  <a:cubicBezTo>
                    <a:pt x="752" y="925"/>
                    <a:pt x="752" y="925"/>
                    <a:pt x="752" y="925"/>
                  </a:cubicBezTo>
                  <a:cubicBezTo>
                    <a:pt x="757" y="921"/>
                    <a:pt x="757" y="921"/>
                    <a:pt x="757" y="921"/>
                  </a:cubicBezTo>
                  <a:cubicBezTo>
                    <a:pt x="761" y="921"/>
                    <a:pt x="761" y="921"/>
                    <a:pt x="761" y="921"/>
                  </a:cubicBezTo>
                  <a:cubicBezTo>
                    <a:pt x="770" y="921"/>
                    <a:pt x="770" y="921"/>
                    <a:pt x="770" y="921"/>
                  </a:cubicBezTo>
                  <a:cubicBezTo>
                    <a:pt x="775" y="921"/>
                    <a:pt x="775" y="921"/>
                    <a:pt x="775" y="921"/>
                  </a:cubicBezTo>
                  <a:cubicBezTo>
                    <a:pt x="780" y="925"/>
                    <a:pt x="780" y="925"/>
                    <a:pt x="780" y="925"/>
                  </a:cubicBezTo>
                  <a:cubicBezTo>
                    <a:pt x="789" y="934"/>
                    <a:pt x="789" y="934"/>
                    <a:pt x="789" y="934"/>
                  </a:cubicBezTo>
                  <a:cubicBezTo>
                    <a:pt x="789" y="939"/>
                    <a:pt x="789" y="939"/>
                    <a:pt x="789" y="939"/>
                  </a:cubicBezTo>
                  <a:cubicBezTo>
                    <a:pt x="793" y="939"/>
                    <a:pt x="793" y="939"/>
                    <a:pt x="793" y="939"/>
                  </a:cubicBezTo>
                  <a:cubicBezTo>
                    <a:pt x="812" y="948"/>
                    <a:pt x="812" y="948"/>
                    <a:pt x="812" y="948"/>
                  </a:cubicBezTo>
                  <a:cubicBezTo>
                    <a:pt x="816" y="948"/>
                    <a:pt x="816" y="948"/>
                    <a:pt x="816" y="948"/>
                  </a:cubicBezTo>
                  <a:cubicBezTo>
                    <a:pt x="821" y="948"/>
                    <a:pt x="821" y="948"/>
                    <a:pt x="821" y="948"/>
                  </a:cubicBezTo>
                  <a:cubicBezTo>
                    <a:pt x="825" y="948"/>
                    <a:pt x="825" y="948"/>
                    <a:pt x="825" y="948"/>
                  </a:cubicBezTo>
                  <a:cubicBezTo>
                    <a:pt x="830" y="948"/>
                    <a:pt x="830" y="948"/>
                    <a:pt x="830" y="948"/>
                  </a:cubicBezTo>
                  <a:cubicBezTo>
                    <a:pt x="839" y="948"/>
                    <a:pt x="839" y="948"/>
                    <a:pt x="839" y="948"/>
                  </a:cubicBezTo>
                  <a:cubicBezTo>
                    <a:pt x="844" y="953"/>
                    <a:pt x="844" y="953"/>
                    <a:pt x="844" y="953"/>
                  </a:cubicBezTo>
                  <a:cubicBezTo>
                    <a:pt x="848" y="953"/>
                    <a:pt x="848" y="953"/>
                    <a:pt x="848" y="953"/>
                  </a:cubicBezTo>
                  <a:cubicBezTo>
                    <a:pt x="853" y="953"/>
                    <a:pt x="853" y="953"/>
                    <a:pt x="853" y="953"/>
                  </a:cubicBezTo>
                  <a:cubicBezTo>
                    <a:pt x="857" y="953"/>
                    <a:pt x="857" y="953"/>
                    <a:pt x="857" y="953"/>
                  </a:cubicBezTo>
                  <a:cubicBezTo>
                    <a:pt x="862" y="953"/>
                    <a:pt x="862" y="953"/>
                    <a:pt x="862" y="953"/>
                  </a:cubicBezTo>
                  <a:cubicBezTo>
                    <a:pt x="871" y="957"/>
                    <a:pt x="871" y="957"/>
                    <a:pt x="871" y="957"/>
                  </a:cubicBezTo>
                  <a:cubicBezTo>
                    <a:pt x="876" y="962"/>
                    <a:pt x="876" y="962"/>
                    <a:pt x="876" y="962"/>
                  </a:cubicBezTo>
                  <a:cubicBezTo>
                    <a:pt x="876" y="967"/>
                    <a:pt x="876" y="967"/>
                    <a:pt x="876" y="967"/>
                  </a:cubicBezTo>
                  <a:cubicBezTo>
                    <a:pt x="880" y="967"/>
                    <a:pt x="880" y="967"/>
                    <a:pt x="880" y="967"/>
                  </a:cubicBezTo>
                  <a:cubicBezTo>
                    <a:pt x="880" y="971"/>
                    <a:pt x="880" y="971"/>
                    <a:pt x="880" y="971"/>
                  </a:cubicBezTo>
                  <a:cubicBezTo>
                    <a:pt x="880" y="980"/>
                    <a:pt x="880" y="980"/>
                    <a:pt x="880" y="980"/>
                  </a:cubicBezTo>
                  <a:cubicBezTo>
                    <a:pt x="880" y="985"/>
                    <a:pt x="880" y="985"/>
                    <a:pt x="880" y="985"/>
                  </a:cubicBezTo>
                  <a:cubicBezTo>
                    <a:pt x="880" y="994"/>
                    <a:pt x="880" y="994"/>
                    <a:pt x="880" y="994"/>
                  </a:cubicBezTo>
                  <a:cubicBezTo>
                    <a:pt x="885" y="999"/>
                    <a:pt x="885" y="999"/>
                    <a:pt x="885" y="999"/>
                  </a:cubicBezTo>
                  <a:cubicBezTo>
                    <a:pt x="890" y="999"/>
                    <a:pt x="890" y="999"/>
                    <a:pt x="890" y="999"/>
                  </a:cubicBezTo>
                  <a:cubicBezTo>
                    <a:pt x="894" y="1003"/>
                    <a:pt x="894" y="1003"/>
                    <a:pt x="894" y="1003"/>
                  </a:cubicBezTo>
                  <a:cubicBezTo>
                    <a:pt x="899" y="1003"/>
                    <a:pt x="899" y="1003"/>
                    <a:pt x="899" y="1003"/>
                  </a:cubicBezTo>
                  <a:cubicBezTo>
                    <a:pt x="908" y="1008"/>
                    <a:pt x="908" y="1008"/>
                    <a:pt x="908" y="1008"/>
                  </a:cubicBezTo>
                  <a:cubicBezTo>
                    <a:pt x="908" y="1012"/>
                    <a:pt x="908" y="1012"/>
                    <a:pt x="908" y="1012"/>
                  </a:cubicBezTo>
                  <a:cubicBezTo>
                    <a:pt x="912" y="1012"/>
                    <a:pt x="912" y="1012"/>
                    <a:pt x="912" y="1012"/>
                  </a:cubicBezTo>
                  <a:cubicBezTo>
                    <a:pt x="912" y="1017"/>
                    <a:pt x="912" y="1017"/>
                    <a:pt x="912" y="1017"/>
                  </a:cubicBezTo>
                  <a:cubicBezTo>
                    <a:pt x="917" y="1026"/>
                    <a:pt x="917" y="1026"/>
                    <a:pt x="917" y="1026"/>
                  </a:cubicBezTo>
                  <a:cubicBezTo>
                    <a:pt x="917" y="1040"/>
                    <a:pt x="917" y="1040"/>
                    <a:pt x="917" y="1040"/>
                  </a:cubicBezTo>
                  <a:cubicBezTo>
                    <a:pt x="917" y="1054"/>
                    <a:pt x="917" y="1054"/>
                    <a:pt x="917" y="1054"/>
                  </a:cubicBezTo>
                  <a:cubicBezTo>
                    <a:pt x="926" y="1067"/>
                    <a:pt x="926" y="1067"/>
                    <a:pt x="926" y="1067"/>
                  </a:cubicBezTo>
                  <a:cubicBezTo>
                    <a:pt x="926" y="1072"/>
                    <a:pt x="926" y="1072"/>
                    <a:pt x="926" y="1072"/>
                  </a:cubicBezTo>
                  <a:cubicBezTo>
                    <a:pt x="931" y="1072"/>
                    <a:pt x="931" y="1072"/>
                    <a:pt x="931" y="1072"/>
                  </a:cubicBezTo>
                  <a:cubicBezTo>
                    <a:pt x="931" y="1076"/>
                    <a:pt x="931" y="1076"/>
                    <a:pt x="931" y="1076"/>
                  </a:cubicBezTo>
                  <a:cubicBezTo>
                    <a:pt x="935" y="1076"/>
                    <a:pt x="935" y="1076"/>
                    <a:pt x="935" y="1076"/>
                  </a:cubicBezTo>
                  <a:cubicBezTo>
                    <a:pt x="940" y="1076"/>
                    <a:pt x="940" y="1076"/>
                    <a:pt x="940" y="1076"/>
                  </a:cubicBezTo>
                  <a:cubicBezTo>
                    <a:pt x="949" y="1076"/>
                    <a:pt x="949" y="1076"/>
                    <a:pt x="949" y="1076"/>
                  </a:cubicBezTo>
                  <a:cubicBezTo>
                    <a:pt x="949" y="1072"/>
                    <a:pt x="949" y="1072"/>
                    <a:pt x="949" y="1072"/>
                  </a:cubicBezTo>
                  <a:cubicBezTo>
                    <a:pt x="954" y="1067"/>
                    <a:pt x="954" y="1067"/>
                    <a:pt x="954" y="1067"/>
                  </a:cubicBezTo>
                  <a:cubicBezTo>
                    <a:pt x="954" y="1058"/>
                    <a:pt x="954" y="1058"/>
                    <a:pt x="954" y="1058"/>
                  </a:cubicBezTo>
                  <a:cubicBezTo>
                    <a:pt x="958" y="1049"/>
                    <a:pt x="958" y="1049"/>
                    <a:pt x="958" y="1049"/>
                  </a:cubicBezTo>
                  <a:cubicBezTo>
                    <a:pt x="963" y="1044"/>
                    <a:pt x="963" y="1044"/>
                    <a:pt x="963" y="1044"/>
                  </a:cubicBezTo>
                  <a:cubicBezTo>
                    <a:pt x="972" y="1040"/>
                    <a:pt x="972" y="1040"/>
                    <a:pt x="972" y="1040"/>
                  </a:cubicBezTo>
                  <a:cubicBezTo>
                    <a:pt x="977" y="1035"/>
                    <a:pt x="977" y="1035"/>
                    <a:pt x="977" y="1035"/>
                  </a:cubicBezTo>
                  <a:cubicBezTo>
                    <a:pt x="981" y="1031"/>
                    <a:pt x="981" y="1031"/>
                    <a:pt x="981" y="1031"/>
                  </a:cubicBezTo>
                  <a:cubicBezTo>
                    <a:pt x="990" y="1031"/>
                    <a:pt x="990" y="1031"/>
                    <a:pt x="990" y="1031"/>
                  </a:cubicBezTo>
                  <a:cubicBezTo>
                    <a:pt x="995" y="1026"/>
                    <a:pt x="995" y="1026"/>
                    <a:pt x="995" y="1026"/>
                  </a:cubicBezTo>
                  <a:cubicBezTo>
                    <a:pt x="1000" y="1017"/>
                    <a:pt x="1000" y="1017"/>
                    <a:pt x="1000" y="1017"/>
                  </a:cubicBezTo>
                  <a:cubicBezTo>
                    <a:pt x="1004" y="1012"/>
                    <a:pt x="1004" y="1012"/>
                    <a:pt x="1004" y="1012"/>
                  </a:cubicBezTo>
                  <a:cubicBezTo>
                    <a:pt x="1013" y="999"/>
                    <a:pt x="1013" y="999"/>
                    <a:pt x="1013" y="999"/>
                  </a:cubicBezTo>
                  <a:cubicBezTo>
                    <a:pt x="1013" y="989"/>
                    <a:pt x="1013" y="989"/>
                    <a:pt x="1013" y="989"/>
                  </a:cubicBezTo>
                  <a:cubicBezTo>
                    <a:pt x="1018" y="985"/>
                    <a:pt x="1018" y="985"/>
                    <a:pt x="1018" y="985"/>
                  </a:cubicBezTo>
                  <a:cubicBezTo>
                    <a:pt x="1023" y="989"/>
                    <a:pt x="1023" y="989"/>
                    <a:pt x="1023" y="989"/>
                  </a:cubicBezTo>
                  <a:cubicBezTo>
                    <a:pt x="1023" y="994"/>
                    <a:pt x="1023" y="994"/>
                    <a:pt x="1023" y="994"/>
                  </a:cubicBezTo>
                  <a:cubicBezTo>
                    <a:pt x="1023" y="999"/>
                    <a:pt x="1023" y="999"/>
                    <a:pt x="1023" y="999"/>
                  </a:cubicBezTo>
                  <a:cubicBezTo>
                    <a:pt x="1018" y="1003"/>
                    <a:pt x="1018" y="1003"/>
                    <a:pt x="1018" y="1003"/>
                  </a:cubicBezTo>
                  <a:cubicBezTo>
                    <a:pt x="1013" y="1008"/>
                    <a:pt x="1013" y="1008"/>
                    <a:pt x="1013" y="1008"/>
                  </a:cubicBezTo>
                  <a:cubicBezTo>
                    <a:pt x="1013" y="1012"/>
                    <a:pt x="1013" y="1012"/>
                    <a:pt x="1013" y="1012"/>
                  </a:cubicBezTo>
                  <a:cubicBezTo>
                    <a:pt x="1009" y="1012"/>
                    <a:pt x="1009" y="1012"/>
                    <a:pt x="1009" y="1012"/>
                  </a:cubicBezTo>
                  <a:cubicBezTo>
                    <a:pt x="1009" y="1017"/>
                    <a:pt x="1009" y="1017"/>
                    <a:pt x="1009" y="1017"/>
                  </a:cubicBezTo>
                  <a:cubicBezTo>
                    <a:pt x="1004" y="1021"/>
                    <a:pt x="1004" y="1021"/>
                    <a:pt x="1004" y="1021"/>
                  </a:cubicBezTo>
                  <a:cubicBezTo>
                    <a:pt x="1004" y="1031"/>
                    <a:pt x="1004" y="1031"/>
                    <a:pt x="1004" y="1031"/>
                  </a:cubicBezTo>
                  <a:cubicBezTo>
                    <a:pt x="1000" y="1040"/>
                    <a:pt x="1000" y="1040"/>
                    <a:pt x="1000" y="1040"/>
                  </a:cubicBezTo>
                  <a:cubicBezTo>
                    <a:pt x="995" y="1054"/>
                    <a:pt x="995" y="1054"/>
                    <a:pt x="995" y="1054"/>
                  </a:cubicBezTo>
                  <a:cubicBezTo>
                    <a:pt x="995" y="1063"/>
                    <a:pt x="995" y="1063"/>
                    <a:pt x="995" y="1063"/>
                  </a:cubicBezTo>
                  <a:cubicBezTo>
                    <a:pt x="995" y="1067"/>
                    <a:pt x="995" y="1067"/>
                    <a:pt x="995" y="1067"/>
                  </a:cubicBezTo>
                  <a:cubicBezTo>
                    <a:pt x="990" y="1067"/>
                    <a:pt x="990" y="1067"/>
                    <a:pt x="990" y="1067"/>
                  </a:cubicBezTo>
                  <a:cubicBezTo>
                    <a:pt x="986" y="1067"/>
                    <a:pt x="986" y="1067"/>
                    <a:pt x="986" y="1067"/>
                  </a:cubicBezTo>
                  <a:cubicBezTo>
                    <a:pt x="986" y="1072"/>
                    <a:pt x="986" y="1072"/>
                    <a:pt x="986" y="1072"/>
                  </a:cubicBezTo>
                  <a:cubicBezTo>
                    <a:pt x="981" y="1076"/>
                    <a:pt x="981" y="1076"/>
                    <a:pt x="981" y="1076"/>
                  </a:cubicBezTo>
                  <a:cubicBezTo>
                    <a:pt x="981" y="1081"/>
                    <a:pt x="981" y="1081"/>
                    <a:pt x="981" y="1081"/>
                  </a:cubicBezTo>
                  <a:cubicBezTo>
                    <a:pt x="986" y="1090"/>
                    <a:pt x="986" y="1090"/>
                    <a:pt x="986" y="1090"/>
                  </a:cubicBezTo>
                  <a:cubicBezTo>
                    <a:pt x="990" y="1090"/>
                    <a:pt x="990" y="1090"/>
                    <a:pt x="990" y="1090"/>
                  </a:cubicBezTo>
                  <a:cubicBezTo>
                    <a:pt x="1000" y="1090"/>
                    <a:pt x="1000" y="1090"/>
                    <a:pt x="1000" y="1090"/>
                  </a:cubicBezTo>
                  <a:cubicBezTo>
                    <a:pt x="1004" y="1090"/>
                    <a:pt x="1004" y="1090"/>
                    <a:pt x="1004" y="1090"/>
                  </a:cubicBezTo>
                  <a:cubicBezTo>
                    <a:pt x="1009" y="1090"/>
                    <a:pt x="1009" y="1090"/>
                    <a:pt x="1009" y="1090"/>
                  </a:cubicBezTo>
                  <a:cubicBezTo>
                    <a:pt x="1009" y="1086"/>
                    <a:pt x="1009" y="1086"/>
                    <a:pt x="1009" y="1086"/>
                  </a:cubicBezTo>
                  <a:cubicBezTo>
                    <a:pt x="1018" y="1081"/>
                    <a:pt x="1018" y="1081"/>
                    <a:pt x="1018" y="1081"/>
                  </a:cubicBezTo>
                  <a:cubicBezTo>
                    <a:pt x="1023" y="1076"/>
                    <a:pt x="1023" y="1076"/>
                    <a:pt x="1023" y="1076"/>
                  </a:cubicBezTo>
                  <a:cubicBezTo>
                    <a:pt x="1023" y="1067"/>
                    <a:pt x="1023" y="1067"/>
                    <a:pt x="1023" y="1067"/>
                  </a:cubicBezTo>
                  <a:cubicBezTo>
                    <a:pt x="1023" y="1063"/>
                    <a:pt x="1023" y="1063"/>
                    <a:pt x="1023" y="1063"/>
                  </a:cubicBezTo>
                  <a:cubicBezTo>
                    <a:pt x="1027" y="1058"/>
                    <a:pt x="1027" y="1058"/>
                    <a:pt x="1027" y="1058"/>
                  </a:cubicBezTo>
                  <a:cubicBezTo>
                    <a:pt x="1032" y="1058"/>
                    <a:pt x="1032" y="1058"/>
                    <a:pt x="1032" y="1058"/>
                  </a:cubicBezTo>
                  <a:cubicBezTo>
                    <a:pt x="1036" y="1058"/>
                    <a:pt x="1036" y="1058"/>
                    <a:pt x="1036" y="1058"/>
                  </a:cubicBezTo>
                  <a:cubicBezTo>
                    <a:pt x="1041" y="1063"/>
                    <a:pt x="1041" y="1063"/>
                    <a:pt x="1041" y="1063"/>
                  </a:cubicBezTo>
                  <a:cubicBezTo>
                    <a:pt x="1041" y="1067"/>
                    <a:pt x="1041" y="1067"/>
                    <a:pt x="1041" y="1067"/>
                  </a:cubicBezTo>
                  <a:cubicBezTo>
                    <a:pt x="1041" y="1072"/>
                    <a:pt x="1041" y="1072"/>
                    <a:pt x="1041" y="1072"/>
                  </a:cubicBezTo>
                  <a:cubicBezTo>
                    <a:pt x="1041" y="1076"/>
                    <a:pt x="1041" y="1076"/>
                    <a:pt x="1041" y="1076"/>
                  </a:cubicBezTo>
                  <a:cubicBezTo>
                    <a:pt x="1041" y="1081"/>
                    <a:pt x="1041" y="1081"/>
                    <a:pt x="1041" y="1081"/>
                  </a:cubicBezTo>
                  <a:cubicBezTo>
                    <a:pt x="1036" y="1086"/>
                    <a:pt x="1036" y="1086"/>
                    <a:pt x="1036" y="1086"/>
                  </a:cubicBezTo>
                  <a:cubicBezTo>
                    <a:pt x="1036" y="1090"/>
                    <a:pt x="1036" y="1090"/>
                    <a:pt x="1036" y="1090"/>
                  </a:cubicBezTo>
                  <a:cubicBezTo>
                    <a:pt x="1032" y="1095"/>
                    <a:pt x="1032" y="1095"/>
                    <a:pt x="1032" y="1095"/>
                  </a:cubicBezTo>
                  <a:cubicBezTo>
                    <a:pt x="1027" y="1099"/>
                    <a:pt x="1027" y="1099"/>
                    <a:pt x="1027" y="1099"/>
                  </a:cubicBezTo>
                  <a:cubicBezTo>
                    <a:pt x="1027" y="1104"/>
                    <a:pt x="1027" y="1104"/>
                    <a:pt x="1027" y="1104"/>
                  </a:cubicBezTo>
                  <a:cubicBezTo>
                    <a:pt x="1032" y="1109"/>
                    <a:pt x="1032" y="1109"/>
                    <a:pt x="1032" y="1109"/>
                  </a:cubicBezTo>
                  <a:cubicBezTo>
                    <a:pt x="1041" y="1113"/>
                    <a:pt x="1041" y="1113"/>
                    <a:pt x="1041" y="1113"/>
                  </a:cubicBezTo>
                  <a:cubicBezTo>
                    <a:pt x="1045" y="1113"/>
                    <a:pt x="1045" y="1113"/>
                    <a:pt x="1045" y="1113"/>
                  </a:cubicBezTo>
                  <a:cubicBezTo>
                    <a:pt x="1055" y="1118"/>
                    <a:pt x="1055" y="1118"/>
                    <a:pt x="1055" y="1118"/>
                  </a:cubicBezTo>
                  <a:cubicBezTo>
                    <a:pt x="1064" y="1118"/>
                    <a:pt x="1064" y="1118"/>
                    <a:pt x="1064" y="1118"/>
                  </a:cubicBezTo>
                  <a:cubicBezTo>
                    <a:pt x="1068" y="1118"/>
                    <a:pt x="1068" y="1118"/>
                    <a:pt x="1068" y="1118"/>
                  </a:cubicBezTo>
                  <a:cubicBezTo>
                    <a:pt x="1068" y="1122"/>
                    <a:pt x="1068" y="1122"/>
                    <a:pt x="1068" y="1122"/>
                  </a:cubicBezTo>
                  <a:cubicBezTo>
                    <a:pt x="1073" y="1127"/>
                    <a:pt x="1073" y="1127"/>
                    <a:pt x="1073" y="1127"/>
                  </a:cubicBezTo>
                  <a:cubicBezTo>
                    <a:pt x="1078" y="1141"/>
                    <a:pt x="1078" y="1141"/>
                    <a:pt x="1078" y="1141"/>
                  </a:cubicBezTo>
                  <a:cubicBezTo>
                    <a:pt x="1082" y="1168"/>
                    <a:pt x="1082" y="1168"/>
                    <a:pt x="1082" y="1168"/>
                  </a:cubicBezTo>
                  <a:cubicBezTo>
                    <a:pt x="1087" y="1182"/>
                    <a:pt x="1087" y="1182"/>
                    <a:pt x="1087" y="1182"/>
                  </a:cubicBezTo>
                  <a:cubicBezTo>
                    <a:pt x="1096" y="1191"/>
                    <a:pt x="1096" y="1191"/>
                    <a:pt x="1096" y="1191"/>
                  </a:cubicBezTo>
                  <a:cubicBezTo>
                    <a:pt x="1100" y="1200"/>
                    <a:pt x="1100" y="1200"/>
                    <a:pt x="1100" y="1200"/>
                  </a:cubicBezTo>
                  <a:cubicBezTo>
                    <a:pt x="1114" y="1205"/>
                    <a:pt x="1114" y="1205"/>
                    <a:pt x="1114" y="1205"/>
                  </a:cubicBezTo>
                  <a:cubicBezTo>
                    <a:pt x="1133" y="1209"/>
                    <a:pt x="1133" y="1209"/>
                    <a:pt x="1133" y="1209"/>
                  </a:cubicBezTo>
                  <a:cubicBezTo>
                    <a:pt x="1133" y="1214"/>
                    <a:pt x="1133" y="1214"/>
                    <a:pt x="1133" y="1214"/>
                  </a:cubicBezTo>
                  <a:cubicBezTo>
                    <a:pt x="1137" y="1214"/>
                    <a:pt x="1137" y="1214"/>
                    <a:pt x="1137" y="1214"/>
                  </a:cubicBezTo>
                  <a:cubicBezTo>
                    <a:pt x="1137" y="1214"/>
                    <a:pt x="1137" y="1214"/>
                    <a:pt x="1138" y="1215"/>
                  </a:cubicBezTo>
                  <a:cubicBezTo>
                    <a:pt x="1142" y="1223"/>
                    <a:pt x="1142" y="1223"/>
                    <a:pt x="1142" y="1223"/>
                  </a:cubicBezTo>
                  <a:cubicBezTo>
                    <a:pt x="1142" y="1228"/>
                    <a:pt x="1142" y="1228"/>
                    <a:pt x="1142" y="1228"/>
                  </a:cubicBezTo>
                  <a:cubicBezTo>
                    <a:pt x="1151" y="1228"/>
                    <a:pt x="1151" y="1228"/>
                    <a:pt x="1151" y="1228"/>
                  </a:cubicBezTo>
                  <a:cubicBezTo>
                    <a:pt x="1155" y="1228"/>
                    <a:pt x="1155" y="1228"/>
                    <a:pt x="1155" y="1228"/>
                  </a:cubicBezTo>
                  <a:cubicBezTo>
                    <a:pt x="1160" y="1232"/>
                    <a:pt x="1160" y="1232"/>
                    <a:pt x="1160" y="1232"/>
                  </a:cubicBezTo>
                  <a:cubicBezTo>
                    <a:pt x="1169" y="1232"/>
                    <a:pt x="1169" y="1232"/>
                    <a:pt x="1169" y="1232"/>
                  </a:cubicBezTo>
                  <a:cubicBezTo>
                    <a:pt x="1178" y="1237"/>
                    <a:pt x="1178" y="1237"/>
                    <a:pt x="1178" y="1237"/>
                  </a:cubicBezTo>
                  <a:cubicBezTo>
                    <a:pt x="1183" y="1237"/>
                    <a:pt x="1183" y="1237"/>
                    <a:pt x="1183" y="1237"/>
                  </a:cubicBezTo>
                  <a:cubicBezTo>
                    <a:pt x="1192" y="1241"/>
                    <a:pt x="1192" y="1241"/>
                    <a:pt x="1192" y="1241"/>
                  </a:cubicBezTo>
                  <a:cubicBezTo>
                    <a:pt x="1197" y="1246"/>
                    <a:pt x="1197" y="1246"/>
                    <a:pt x="1197" y="1246"/>
                  </a:cubicBezTo>
                  <a:cubicBezTo>
                    <a:pt x="1206" y="1246"/>
                    <a:pt x="1206" y="1246"/>
                    <a:pt x="1206" y="1246"/>
                  </a:cubicBezTo>
                  <a:cubicBezTo>
                    <a:pt x="1210" y="1250"/>
                    <a:pt x="1210" y="1250"/>
                    <a:pt x="1210" y="1250"/>
                  </a:cubicBezTo>
                  <a:cubicBezTo>
                    <a:pt x="1215" y="1250"/>
                    <a:pt x="1215" y="1250"/>
                    <a:pt x="1215" y="1250"/>
                  </a:cubicBezTo>
                  <a:cubicBezTo>
                    <a:pt x="1224" y="1255"/>
                    <a:pt x="1224" y="1255"/>
                    <a:pt x="1224" y="1255"/>
                  </a:cubicBezTo>
                  <a:cubicBezTo>
                    <a:pt x="1229" y="1255"/>
                    <a:pt x="1229" y="1255"/>
                    <a:pt x="1229" y="1255"/>
                  </a:cubicBezTo>
                  <a:cubicBezTo>
                    <a:pt x="1238" y="1250"/>
                    <a:pt x="1238" y="1250"/>
                    <a:pt x="1238" y="1250"/>
                  </a:cubicBezTo>
                  <a:cubicBezTo>
                    <a:pt x="1243" y="1246"/>
                    <a:pt x="1243" y="1246"/>
                    <a:pt x="1243" y="1246"/>
                  </a:cubicBezTo>
                  <a:cubicBezTo>
                    <a:pt x="1247" y="1241"/>
                    <a:pt x="1247" y="1241"/>
                    <a:pt x="1247" y="1241"/>
                  </a:cubicBezTo>
                  <a:cubicBezTo>
                    <a:pt x="1261" y="1223"/>
                    <a:pt x="1261" y="1223"/>
                    <a:pt x="1261" y="1223"/>
                  </a:cubicBezTo>
                  <a:cubicBezTo>
                    <a:pt x="1265" y="1223"/>
                    <a:pt x="1265" y="1223"/>
                    <a:pt x="1265" y="1223"/>
                  </a:cubicBezTo>
                  <a:cubicBezTo>
                    <a:pt x="1270" y="1218"/>
                    <a:pt x="1270" y="1218"/>
                    <a:pt x="1270" y="1218"/>
                  </a:cubicBezTo>
                  <a:cubicBezTo>
                    <a:pt x="1275" y="1218"/>
                    <a:pt x="1275" y="1218"/>
                    <a:pt x="1275" y="1218"/>
                  </a:cubicBezTo>
                  <a:cubicBezTo>
                    <a:pt x="1284" y="1218"/>
                    <a:pt x="1284" y="1218"/>
                    <a:pt x="1284" y="1218"/>
                  </a:cubicBezTo>
                  <a:cubicBezTo>
                    <a:pt x="1288" y="1218"/>
                    <a:pt x="1288" y="1218"/>
                    <a:pt x="1288" y="1218"/>
                  </a:cubicBezTo>
                  <a:cubicBezTo>
                    <a:pt x="1288" y="1223"/>
                    <a:pt x="1288" y="1223"/>
                    <a:pt x="1288" y="1223"/>
                  </a:cubicBezTo>
                  <a:cubicBezTo>
                    <a:pt x="1288" y="1228"/>
                    <a:pt x="1288" y="1228"/>
                    <a:pt x="1288" y="1228"/>
                  </a:cubicBezTo>
                  <a:cubicBezTo>
                    <a:pt x="1284" y="1232"/>
                    <a:pt x="1284" y="1232"/>
                    <a:pt x="1284" y="1232"/>
                  </a:cubicBezTo>
                  <a:cubicBezTo>
                    <a:pt x="1275" y="1237"/>
                    <a:pt x="1275" y="1237"/>
                    <a:pt x="1275" y="1237"/>
                  </a:cubicBezTo>
                  <a:cubicBezTo>
                    <a:pt x="1275" y="1241"/>
                    <a:pt x="1275" y="1241"/>
                    <a:pt x="1275" y="1241"/>
                  </a:cubicBezTo>
                  <a:cubicBezTo>
                    <a:pt x="1275" y="1246"/>
                    <a:pt x="1275" y="1246"/>
                    <a:pt x="1275" y="1246"/>
                  </a:cubicBezTo>
                  <a:cubicBezTo>
                    <a:pt x="1279" y="1250"/>
                    <a:pt x="1279" y="1250"/>
                    <a:pt x="1279" y="1250"/>
                  </a:cubicBezTo>
                  <a:cubicBezTo>
                    <a:pt x="1279" y="1255"/>
                    <a:pt x="1279" y="1255"/>
                    <a:pt x="1279" y="1255"/>
                  </a:cubicBezTo>
                  <a:cubicBezTo>
                    <a:pt x="1284" y="1255"/>
                    <a:pt x="1284" y="1255"/>
                    <a:pt x="1284" y="1255"/>
                  </a:cubicBezTo>
                  <a:cubicBezTo>
                    <a:pt x="1288" y="1260"/>
                    <a:pt x="1288" y="1260"/>
                    <a:pt x="1288" y="1260"/>
                  </a:cubicBezTo>
                  <a:cubicBezTo>
                    <a:pt x="1293" y="1260"/>
                    <a:pt x="1293" y="1260"/>
                    <a:pt x="1293" y="1260"/>
                  </a:cubicBezTo>
                  <a:cubicBezTo>
                    <a:pt x="1298" y="1264"/>
                    <a:pt x="1298" y="1264"/>
                    <a:pt x="1298" y="1264"/>
                  </a:cubicBezTo>
                  <a:cubicBezTo>
                    <a:pt x="1302" y="1264"/>
                    <a:pt x="1302" y="1264"/>
                    <a:pt x="1302" y="1264"/>
                  </a:cubicBezTo>
                  <a:cubicBezTo>
                    <a:pt x="1307" y="1264"/>
                    <a:pt x="1307" y="1264"/>
                    <a:pt x="1307" y="1264"/>
                  </a:cubicBezTo>
                  <a:cubicBezTo>
                    <a:pt x="1311" y="1269"/>
                    <a:pt x="1311" y="1269"/>
                    <a:pt x="1311" y="1269"/>
                  </a:cubicBezTo>
                  <a:cubicBezTo>
                    <a:pt x="1321" y="1278"/>
                    <a:pt x="1321" y="1278"/>
                    <a:pt x="1321" y="1278"/>
                  </a:cubicBezTo>
                  <a:cubicBezTo>
                    <a:pt x="1325" y="1278"/>
                    <a:pt x="1325" y="1278"/>
                    <a:pt x="1325" y="1278"/>
                  </a:cubicBezTo>
                  <a:cubicBezTo>
                    <a:pt x="1325" y="1283"/>
                    <a:pt x="1325" y="1283"/>
                    <a:pt x="1325" y="1283"/>
                  </a:cubicBezTo>
                  <a:cubicBezTo>
                    <a:pt x="1339" y="1283"/>
                    <a:pt x="1339" y="1283"/>
                    <a:pt x="1339" y="1283"/>
                  </a:cubicBezTo>
                  <a:cubicBezTo>
                    <a:pt x="1339" y="1278"/>
                    <a:pt x="1339" y="1278"/>
                    <a:pt x="1339" y="1278"/>
                  </a:cubicBezTo>
                  <a:cubicBezTo>
                    <a:pt x="1339" y="1273"/>
                    <a:pt x="1339" y="1273"/>
                    <a:pt x="1339" y="1273"/>
                  </a:cubicBezTo>
                  <a:cubicBezTo>
                    <a:pt x="1343" y="1269"/>
                    <a:pt x="1343" y="1269"/>
                    <a:pt x="1343" y="1269"/>
                  </a:cubicBezTo>
                  <a:cubicBezTo>
                    <a:pt x="1348" y="1269"/>
                    <a:pt x="1348" y="1269"/>
                    <a:pt x="1348" y="1269"/>
                  </a:cubicBezTo>
                  <a:cubicBezTo>
                    <a:pt x="1357" y="1269"/>
                    <a:pt x="1357" y="1269"/>
                    <a:pt x="1357" y="1269"/>
                  </a:cubicBezTo>
                  <a:cubicBezTo>
                    <a:pt x="1362" y="1269"/>
                    <a:pt x="1362" y="1269"/>
                    <a:pt x="1362" y="1269"/>
                  </a:cubicBezTo>
                  <a:cubicBezTo>
                    <a:pt x="1376" y="1255"/>
                    <a:pt x="1376" y="1255"/>
                    <a:pt x="1376" y="1255"/>
                  </a:cubicBezTo>
                  <a:cubicBezTo>
                    <a:pt x="1380" y="1250"/>
                    <a:pt x="1380" y="1250"/>
                    <a:pt x="1380" y="1250"/>
                  </a:cubicBezTo>
                  <a:cubicBezTo>
                    <a:pt x="1385" y="1241"/>
                    <a:pt x="1385" y="1241"/>
                    <a:pt x="1385" y="1241"/>
                  </a:cubicBezTo>
                  <a:cubicBezTo>
                    <a:pt x="1394" y="1241"/>
                    <a:pt x="1394" y="1241"/>
                    <a:pt x="1394" y="1241"/>
                  </a:cubicBezTo>
                  <a:cubicBezTo>
                    <a:pt x="1398" y="1237"/>
                    <a:pt x="1398" y="1237"/>
                    <a:pt x="1398" y="1237"/>
                  </a:cubicBezTo>
                  <a:cubicBezTo>
                    <a:pt x="1403" y="1237"/>
                    <a:pt x="1403" y="1237"/>
                    <a:pt x="1403" y="1237"/>
                  </a:cubicBezTo>
                  <a:cubicBezTo>
                    <a:pt x="1417" y="1232"/>
                    <a:pt x="1417" y="1232"/>
                    <a:pt x="1417" y="1232"/>
                  </a:cubicBezTo>
                  <a:cubicBezTo>
                    <a:pt x="1421" y="1232"/>
                    <a:pt x="1421" y="1232"/>
                    <a:pt x="1421" y="1232"/>
                  </a:cubicBezTo>
                  <a:cubicBezTo>
                    <a:pt x="1426" y="1232"/>
                    <a:pt x="1426" y="1232"/>
                    <a:pt x="1426" y="1232"/>
                  </a:cubicBezTo>
                  <a:cubicBezTo>
                    <a:pt x="1431" y="1232"/>
                    <a:pt x="1431" y="1232"/>
                    <a:pt x="1431" y="1232"/>
                  </a:cubicBezTo>
                  <a:cubicBezTo>
                    <a:pt x="1449" y="1232"/>
                    <a:pt x="1449" y="1232"/>
                    <a:pt x="1449" y="1232"/>
                  </a:cubicBezTo>
                  <a:cubicBezTo>
                    <a:pt x="1458" y="1232"/>
                    <a:pt x="1458" y="1232"/>
                    <a:pt x="1458" y="1232"/>
                  </a:cubicBezTo>
                  <a:cubicBezTo>
                    <a:pt x="1463" y="1228"/>
                    <a:pt x="1463" y="1228"/>
                    <a:pt x="1463" y="1228"/>
                  </a:cubicBezTo>
                  <a:cubicBezTo>
                    <a:pt x="1472" y="1218"/>
                    <a:pt x="1472" y="1218"/>
                    <a:pt x="1472" y="1218"/>
                  </a:cubicBezTo>
                  <a:cubicBezTo>
                    <a:pt x="1476" y="1214"/>
                    <a:pt x="1476" y="1214"/>
                    <a:pt x="1476" y="1214"/>
                  </a:cubicBezTo>
                  <a:cubicBezTo>
                    <a:pt x="1479" y="1211"/>
                    <a:pt x="1480" y="1210"/>
                    <a:pt x="1481" y="1209"/>
                  </a:cubicBezTo>
                  <a:cubicBezTo>
                    <a:pt x="1481" y="1209"/>
                    <a:pt x="1481" y="1209"/>
                    <a:pt x="1481" y="1209"/>
                  </a:cubicBezTo>
                  <a:cubicBezTo>
                    <a:pt x="1476" y="1205"/>
                    <a:pt x="1476" y="1205"/>
                    <a:pt x="1476" y="1205"/>
                  </a:cubicBezTo>
                  <a:cubicBezTo>
                    <a:pt x="1476" y="1196"/>
                    <a:pt x="1476" y="1196"/>
                    <a:pt x="1476" y="1196"/>
                  </a:cubicBezTo>
                  <a:cubicBezTo>
                    <a:pt x="1476" y="1182"/>
                    <a:pt x="1476" y="1182"/>
                    <a:pt x="1476" y="1182"/>
                  </a:cubicBezTo>
                  <a:cubicBezTo>
                    <a:pt x="1476" y="1168"/>
                    <a:pt x="1476" y="1168"/>
                    <a:pt x="1476" y="1168"/>
                  </a:cubicBezTo>
                  <a:cubicBezTo>
                    <a:pt x="1481" y="1154"/>
                    <a:pt x="1481" y="1154"/>
                    <a:pt x="1481" y="1154"/>
                  </a:cubicBezTo>
                  <a:cubicBezTo>
                    <a:pt x="1481" y="1150"/>
                    <a:pt x="1481" y="1150"/>
                    <a:pt x="1481" y="1150"/>
                  </a:cubicBezTo>
                  <a:cubicBezTo>
                    <a:pt x="1486" y="1145"/>
                    <a:pt x="1486" y="1145"/>
                    <a:pt x="1486" y="1145"/>
                  </a:cubicBezTo>
                  <a:cubicBezTo>
                    <a:pt x="1490" y="1141"/>
                    <a:pt x="1490" y="1141"/>
                    <a:pt x="1490" y="1141"/>
                  </a:cubicBezTo>
                  <a:cubicBezTo>
                    <a:pt x="1495" y="1136"/>
                    <a:pt x="1495" y="1136"/>
                    <a:pt x="1495" y="1136"/>
                  </a:cubicBezTo>
                  <a:cubicBezTo>
                    <a:pt x="1499" y="1136"/>
                    <a:pt x="1499" y="1136"/>
                    <a:pt x="1499" y="1136"/>
                  </a:cubicBezTo>
                  <a:cubicBezTo>
                    <a:pt x="1504" y="1131"/>
                    <a:pt x="1504" y="1131"/>
                    <a:pt x="1504" y="1131"/>
                  </a:cubicBezTo>
                  <a:cubicBezTo>
                    <a:pt x="1508" y="1127"/>
                    <a:pt x="1508" y="1127"/>
                    <a:pt x="1508" y="1127"/>
                  </a:cubicBezTo>
                  <a:cubicBezTo>
                    <a:pt x="1513" y="1122"/>
                    <a:pt x="1513" y="1122"/>
                    <a:pt x="1513" y="1122"/>
                  </a:cubicBezTo>
                  <a:cubicBezTo>
                    <a:pt x="1513" y="1118"/>
                    <a:pt x="1513" y="1118"/>
                    <a:pt x="1513" y="1118"/>
                  </a:cubicBezTo>
                  <a:cubicBezTo>
                    <a:pt x="1513" y="1113"/>
                    <a:pt x="1513" y="1113"/>
                    <a:pt x="1513" y="1113"/>
                  </a:cubicBezTo>
                  <a:cubicBezTo>
                    <a:pt x="1513" y="1104"/>
                    <a:pt x="1513" y="1104"/>
                    <a:pt x="1513" y="1104"/>
                  </a:cubicBezTo>
                  <a:cubicBezTo>
                    <a:pt x="1513" y="1099"/>
                    <a:pt x="1513" y="1099"/>
                    <a:pt x="1513" y="1099"/>
                  </a:cubicBezTo>
                  <a:cubicBezTo>
                    <a:pt x="1518" y="1090"/>
                    <a:pt x="1518" y="1090"/>
                    <a:pt x="1518" y="1090"/>
                  </a:cubicBezTo>
                  <a:cubicBezTo>
                    <a:pt x="1522" y="1086"/>
                    <a:pt x="1522" y="1086"/>
                    <a:pt x="1522" y="1086"/>
                  </a:cubicBezTo>
                  <a:cubicBezTo>
                    <a:pt x="1531" y="1081"/>
                    <a:pt x="1531" y="1081"/>
                    <a:pt x="1531" y="1081"/>
                  </a:cubicBezTo>
                  <a:cubicBezTo>
                    <a:pt x="1536" y="1072"/>
                    <a:pt x="1536" y="1072"/>
                    <a:pt x="1536" y="1072"/>
                  </a:cubicBezTo>
                  <a:cubicBezTo>
                    <a:pt x="1541" y="1067"/>
                    <a:pt x="1541" y="1067"/>
                    <a:pt x="1541" y="1067"/>
                  </a:cubicBezTo>
                  <a:cubicBezTo>
                    <a:pt x="1545" y="1063"/>
                    <a:pt x="1545" y="1063"/>
                    <a:pt x="1545" y="1063"/>
                  </a:cubicBezTo>
                  <a:cubicBezTo>
                    <a:pt x="1550" y="1054"/>
                    <a:pt x="1550" y="1054"/>
                    <a:pt x="1550" y="1054"/>
                  </a:cubicBezTo>
                  <a:cubicBezTo>
                    <a:pt x="1554" y="1049"/>
                    <a:pt x="1554" y="1049"/>
                    <a:pt x="1554" y="1049"/>
                  </a:cubicBezTo>
                  <a:cubicBezTo>
                    <a:pt x="1559" y="1049"/>
                    <a:pt x="1559" y="1049"/>
                    <a:pt x="1559" y="1049"/>
                  </a:cubicBezTo>
                  <a:cubicBezTo>
                    <a:pt x="1559" y="1044"/>
                    <a:pt x="1559" y="1044"/>
                    <a:pt x="1559" y="1044"/>
                  </a:cubicBezTo>
                  <a:cubicBezTo>
                    <a:pt x="1563" y="1044"/>
                    <a:pt x="1563" y="1044"/>
                    <a:pt x="1563" y="1044"/>
                  </a:cubicBezTo>
                  <a:cubicBezTo>
                    <a:pt x="1563" y="1040"/>
                    <a:pt x="1563" y="1040"/>
                    <a:pt x="1563" y="1040"/>
                  </a:cubicBezTo>
                  <a:cubicBezTo>
                    <a:pt x="1568" y="1040"/>
                    <a:pt x="1568" y="1040"/>
                    <a:pt x="1568" y="1040"/>
                  </a:cubicBezTo>
                  <a:cubicBezTo>
                    <a:pt x="1568" y="1035"/>
                    <a:pt x="1568" y="1035"/>
                    <a:pt x="1568" y="1035"/>
                  </a:cubicBezTo>
                  <a:cubicBezTo>
                    <a:pt x="1573" y="1031"/>
                    <a:pt x="1573" y="1031"/>
                    <a:pt x="1573" y="1031"/>
                  </a:cubicBezTo>
                  <a:cubicBezTo>
                    <a:pt x="1577" y="1026"/>
                    <a:pt x="1577" y="1026"/>
                    <a:pt x="1577" y="1026"/>
                  </a:cubicBezTo>
                  <a:cubicBezTo>
                    <a:pt x="1582" y="1026"/>
                    <a:pt x="1582" y="1026"/>
                    <a:pt x="1582" y="1026"/>
                  </a:cubicBezTo>
                  <a:cubicBezTo>
                    <a:pt x="1582" y="1021"/>
                    <a:pt x="1582" y="1021"/>
                    <a:pt x="1582" y="1021"/>
                  </a:cubicBezTo>
                  <a:cubicBezTo>
                    <a:pt x="1586" y="1021"/>
                    <a:pt x="1586" y="1021"/>
                    <a:pt x="1586" y="1021"/>
                  </a:cubicBezTo>
                  <a:cubicBezTo>
                    <a:pt x="1591" y="1017"/>
                    <a:pt x="1591" y="1017"/>
                    <a:pt x="1591" y="1017"/>
                  </a:cubicBezTo>
                  <a:cubicBezTo>
                    <a:pt x="1596" y="1017"/>
                    <a:pt x="1596" y="1017"/>
                    <a:pt x="1596" y="1017"/>
                  </a:cubicBezTo>
                  <a:cubicBezTo>
                    <a:pt x="1600" y="1017"/>
                    <a:pt x="1600" y="1017"/>
                    <a:pt x="1600" y="1017"/>
                  </a:cubicBezTo>
                  <a:cubicBezTo>
                    <a:pt x="1605" y="1012"/>
                    <a:pt x="1605" y="1012"/>
                    <a:pt x="1605" y="1012"/>
                  </a:cubicBezTo>
                  <a:cubicBezTo>
                    <a:pt x="1609" y="1012"/>
                    <a:pt x="1609" y="1012"/>
                    <a:pt x="1609" y="1012"/>
                  </a:cubicBezTo>
                  <a:cubicBezTo>
                    <a:pt x="1609" y="1008"/>
                    <a:pt x="1609" y="1008"/>
                    <a:pt x="1609" y="1008"/>
                  </a:cubicBezTo>
                  <a:cubicBezTo>
                    <a:pt x="1614" y="1008"/>
                    <a:pt x="1614" y="1008"/>
                    <a:pt x="1614" y="1008"/>
                  </a:cubicBezTo>
                  <a:cubicBezTo>
                    <a:pt x="1614" y="1003"/>
                    <a:pt x="1614" y="1003"/>
                    <a:pt x="1614" y="1003"/>
                  </a:cubicBezTo>
                  <a:cubicBezTo>
                    <a:pt x="1623" y="980"/>
                    <a:pt x="1623" y="980"/>
                    <a:pt x="1623" y="980"/>
                  </a:cubicBezTo>
                  <a:cubicBezTo>
                    <a:pt x="1632" y="962"/>
                    <a:pt x="1632" y="962"/>
                    <a:pt x="1632" y="962"/>
                  </a:cubicBezTo>
                  <a:cubicBezTo>
                    <a:pt x="1641" y="939"/>
                    <a:pt x="1641" y="939"/>
                    <a:pt x="1641" y="939"/>
                  </a:cubicBezTo>
                  <a:cubicBezTo>
                    <a:pt x="1646" y="921"/>
                    <a:pt x="1646" y="921"/>
                    <a:pt x="1646" y="921"/>
                  </a:cubicBezTo>
                  <a:cubicBezTo>
                    <a:pt x="1655" y="902"/>
                    <a:pt x="1655" y="902"/>
                    <a:pt x="1655" y="902"/>
                  </a:cubicBezTo>
                  <a:cubicBezTo>
                    <a:pt x="1664" y="884"/>
                    <a:pt x="1664" y="884"/>
                    <a:pt x="1664" y="884"/>
                  </a:cubicBezTo>
                  <a:cubicBezTo>
                    <a:pt x="1674" y="861"/>
                    <a:pt x="1674" y="861"/>
                    <a:pt x="1674" y="861"/>
                  </a:cubicBezTo>
                  <a:cubicBezTo>
                    <a:pt x="1674" y="852"/>
                    <a:pt x="1678" y="847"/>
                    <a:pt x="1678" y="843"/>
                  </a:cubicBezTo>
                  <a:cubicBezTo>
                    <a:pt x="1683" y="843"/>
                    <a:pt x="1683" y="843"/>
                    <a:pt x="1683" y="843"/>
                  </a:cubicBezTo>
                  <a:cubicBezTo>
                    <a:pt x="1683" y="838"/>
                    <a:pt x="1683" y="838"/>
                    <a:pt x="1683" y="838"/>
                  </a:cubicBezTo>
                  <a:cubicBezTo>
                    <a:pt x="1687" y="838"/>
                    <a:pt x="1687" y="838"/>
                    <a:pt x="1687" y="838"/>
                  </a:cubicBezTo>
                  <a:cubicBezTo>
                    <a:pt x="1688" y="837"/>
                    <a:pt x="1689" y="836"/>
                    <a:pt x="1690" y="836"/>
                  </a:cubicBezTo>
                  <a:cubicBezTo>
                    <a:pt x="1692" y="834"/>
                    <a:pt x="1692" y="834"/>
                    <a:pt x="1692" y="834"/>
                  </a:cubicBezTo>
                  <a:cubicBezTo>
                    <a:pt x="1692" y="820"/>
                    <a:pt x="1692" y="820"/>
                    <a:pt x="1692" y="820"/>
                  </a:cubicBezTo>
                  <a:cubicBezTo>
                    <a:pt x="1692" y="806"/>
                    <a:pt x="1692" y="806"/>
                    <a:pt x="1692" y="806"/>
                  </a:cubicBezTo>
                  <a:cubicBezTo>
                    <a:pt x="1687" y="792"/>
                    <a:pt x="1687" y="792"/>
                    <a:pt x="1687" y="792"/>
                  </a:cubicBezTo>
                  <a:cubicBezTo>
                    <a:pt x="1683" y="779"/>
                    <a:pt x="1683" y="779"/>
                    <a:pt x="1683" y="779"/>
                  </a:cubicBezTo>
                  <a:cubicBezTo>
                    <a:pt x="1678" y="774"/>
                    <a:pt x="1678" y="774"/>
                    <a:pt x="1678" y="774"/>
                  </a:cubicBezTo>
                  <a:cubicBezTo>
                    <a:pt x="1678" y="770"/>
                    <a:pt x="1678" y="770"/>
                    <a:pt x="1678" y="770"/>
                  </a:cubicBezTo>
                  <a:cubicBezTo>
                    <a:pt x="1678" y="765"/>
                    <a:pt x="1678" y="765"/>
                    <a:pt x="1678" y="765"/>
                  </a:cubicBezTo>
                  <a:cubicBezTo>
                    <a:pt x="1678" y="760"/>
                    <a:pt x="1678" y="760"/>
                    <a:pt x="1678" y="760"/>
                  </a:cubicBezTo>
                  <a:cubicBezTo>
                    <a:pt x="1683" y="751"/>
                    <a:pt x="1683" y="751"/>
                    <a:pt x="1683" y="751"/>
                  </a:cubicBezTo>
                  <a:cubicBezTo>
                    <a:pt x="1692" y="738"/>
                    <a:pt x="1692" y="738"/>
                    <a:pt x="1692" y="738"/>
                  </a:cubicBezTo>
                  <a:cubicBezTo>
                    <a:pt x="1696" y="728"/>
                    <a:pt x="1696" y="728"/>
                    <a:pt x="1696" y="728"/>
                  </a:cubicBezTo>
                  <a:cubicBezTo>
                    <a:pt x="1696" y="724"/>
                    <a:pt x="1696" y="724"/>
                    <a:pt x="1696" y="724"/>
                  </a:cubicBezTo>
                  <a:cubicBezTo>
                    <a:pt x="1701" y="710"/>
                    <a:pt x="1701" y="710"/>
                    <a:pt x="1701" y="710"/>
                  </a:cubicBezTo>
                  <a:lnTo>
                    <a:pt x="1696" y="705"/>
                  </a:lnTo>
                  <a:close/>
                </a:path>
              </a:pathLst>
            </a:custGeom>
            <a:solidFill>
              <a:schemeClr val="bg1">
                <a:alpha val="63000"/>
              </a:schemeClr>
            </a:solidFill>
            <a:ln w="15875" cap="rnd">
              <a:noFill/>
              <a:prstDash val="solid"/>
              <a:round/>
              <a:headEnd/>
              <a:tailEnd/>
            </a:ln>
            <a:extLst>
              <a:ext uri="{91240B29-F687-4F45-9708-019B960494DF}">
                <a14:hiddenLine xmlns:a14="http://schemas.microsoft.com/office/drawing/2010/main" w="15875" cap="rnd">
                  <a:solidFill>
                    <a:srgbClr val="FFFFFF"/>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grpSp>
        <p:nvGrpSpPr>
          <p:cNvPr id="16" name="Group 15">
            <a:extLst>
              <a:ext uri="{FF2B5EF4-FFF2-40B4-BE49-F238E27FC236}">
                <a16:creationId xmlns:a16="http://schemas.microsoft.com/office/drawing/2014/main" id="{5D611F1F-028D-E6A6-3D28-C280C9DBBD74}"/>
              </a:ext>
              <a:ext uri="{C183D7F6-B498-43B3-948B-1728B52AA6E4}">
                <adec:decorative xmlns:adec="http://schemas.microsoft.com/office/drawing/2017/decorative" val="1"/>
              </a:ext>
            </a:extLst>
          </p:cNvPr>
          <p:cNvGrpSpPr/>
          <p:nvPr/>
        </p:nvGrpSpPr>
        <p:grpSpPr>
          <a:xfrm>
            <a:off x="4897794" y="3096155"/>
            <a:ext cx="3866487" cy="2772773"/>
            <a:chOff x="4897794" y="3008551"/>
            <a:chExt cx="3866487" cy="2772773"/>
          </a:xfrm>
        </p:grpSpPr>
        <p:sp>
          <p:nvSpPr>
            <p:cNvPr id="17" name="Freeform: Shape 16">
              <a:extLst>
                <a:ext uri="{FF2B5EF4-FFF2-40B4-BE49-F238E27FC236}">
                  <a16:creationId xmlns:a16="http://schemas.microsoft.com/office/drawing/2014/main" id="{858222D0-8568-8724-0A58-A3FEBD66C27A}"/>
                </a:ext>
              </a:extLst>
            </p:cNvPr>
            <p:cNvSpPr/>
            <p:nvPr/>
          </p:nvSpPr>
          <p:spPr>
            <a:xfrm rot="16511337">
              <a:off x="6613697" y="5116048"/>
              <a:ext cx="863998" cy="466554"/>
            </a:xfrm>
            <a:custGeom>
              <a:avLst/>
              <a:gdLst>
                <a:gd name="connsiteX0" fmla="*/ 0 w 340360"/>
                <a:gd name="connsiteY0" fmla="*/ 0 h 254000"/>
                <a:gd name="connsiteX1" fmla="*/ 193040 w 340360"/>
                <a:gd name="connsiteY1" fmla="*/ 2540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3404 h 257404"/>
                <a:gd name="connsiteX1" fmla="*/ 247015 w 340360"/>
                <a:gd name="connsiteY1" fmla="*/ 47854 h 257404"/>
                <a:gd name="connsiteX2" fmla="*/ 340360 w 340360"/>
                <a:gd name="connsiteY2" fmla="*/ 257404 h 257404"/>
                <a:gd name="connsiteX0" fmla="*/ 0 w 340360"/>
                <a:gd name="connsiteY0" fmla="*/ 3404 h 257404"/>
                <a:gd name="connsiteX1" fmla="*/ 247015 w 340360"/>
                <a:gd name="connsiteY1" fmla="*/ 47854 h 257404"/>
                <a:gd name="connsiteX2" fmla="*/ 340360 w 340360"/>
                <a:gd name="connsiteY2" fmla="*/ 257404 h 257404"/>
              </a:gdLst>
              <a:ahLst/>
              <a:cxnLst>
                <a:cxn ang="0">
                  <a:pos x="connsiteX0" y="connsiteY0"/>
                </a:cxn>
                <a:cxn ang="0">
                  <a:pos x="connsiteX1" y="connsiteY1"/>
                </a:cxn>
                <a:cxn ang="0">
                  <a:pos x="connsiteX2" y="connsiteY2"/>
                </a:cxn>
              </a:cxnLst>
              <a:rect l="l" t="t" r="r" b="b"/>
              <a:pathLst>
                <a:path w="340360" h="257404">
                  <a:moveTo>
                    <a:pt x="0" y="3404"/>
                  </a:moveTo>
                  <a:cubicBezTo>
                    <a:pt x="80222" y="-5591"/>
                    <a:pt x="162030" y="1287"/>
                    <a:pt x="247015" y="47854"/>
                  </a:cubicBezTo>
                  <a:cubicBezTo>
                    <a:pt x="316442" y="102887"/>
                    <a:pt x="337925" y="156333"/>
                    <a:pt x="340360" y="257404"/>
                  </a:cubicBezTo>
                </a:path>
              </a:pathLst>
            </a:custGeom>
            <a:noFill/>
            <a:ln w="25400" cap="rnd">
              <a:gradFill>
                <a:gsLst>
                  <a:gs pos="5000">
                    <a:schemeClr val="accent3">
                      <a:alpha val="0"/>
                    </a:schemeClr>
                  </a:gs>
                  <a:gs pos="46000">
                    <a:schemeClr val="accent3"/>
                  </a:gs>
                </a:gsLst>
                <a:lin ang="30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Freeform: Shape 17">
              <a:extLst>
                <a:ext uri="{FF2B5EF4-FFF2-40B4-BE49-F238E27FC236}">
                  <a16:creationId xmlns:a16="http://schemas.microsoft.com/office/drawing/2014/main" id="{94956D8C-3DDB-7EE4-1EB4-875B5D36DD0A}"/>
                </a:ext>
              </a:extLst>
            </p:cNvPr>
            <p:cNvSpPr/>
            <p:nvPr/>
          </p:nvSpPr>
          <p:spPr>
            <a:xfrm rot="5895264">
              <a:off x="7237478" y="4900002"/>
              <a:ext cx="97295" cy="79133"/>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Freeform: Shape 18">
              <a:extLst>
                <a:ext uri="{FF2B5EF4-FFF2-40B4-BE49-F238E27FC236}">
                  <a16:creationId xmlns:a16="http://schemas.microsoft.com/office/drawing/2014/main" id="{B84285FF-4CD9-BC47-1BB6-6A8A758C1C30}"/>
                </a:ext>
              </a:extLst>
            </p:cNvPr>
            <p:cNvSpPr/>
            <p:nvPr/>
          </p:nvSpPr>
          <p:spPr>
            <a:xfrm rot="5524027">
              <a:off x="7874810" y="4097934"/>
              <a:ext cx="1143220" cy="635723"/>
            </a:xfrm>
            <a:custGeom>
              <a:avLst/>
              <a:gdLst>
                <a:gd name="connsiteX0" fmla="*/ 0 w 340360"/>
                <a:gd name="connsiteY0" fmla="*/ 0 h 254000"/>
                <a:gd name="connsiteX1" fmla="*/ 193040 w 340360"/>
                <a:gd name="connsiteY1" fmla="*/ 2540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3404 h 257404"/>
                <a:gd name="connsiteX1" fmla="*/ 247015 w 340360"/>
                <a:gd name="connsiteY1" fmla="*/ 47854 h 257404"/>
                <a:gd name="connsiteX2" fmla="*/ 340360 w 340360"/>
                <a:gd name="connsiteY2" fmla="*/ 257404 h 257404"/>
                <a:gd name="connsiteX0" fmla="*/ 0 w 340360"/>
                <a:gd name="connsiteY0" fmla="*/ 3404 h 257404"/>
                <a:gd name="connsiteX1" fmla="*/ 247015 w 340360"/>
                <a:gd name="connsiteY1" fmla="*/ 47854 h 257404"/>
                <a:gd name="connsiteX2" fmla="*/ 340360 w 340360"/>
                <a:gd name="connsiteY2" fmla="*/ 257404 h 257404"/>
              </a:gdLst>
              <a:ahLst/>
              <a:cxnLst>
                <a:cxn ang="0">
                  <a:pos x="connsiteX0" y="connsiteY0"/>
                </a:cxn>
                <a:cxn ang="0">
                  <a:pos x="connsiteX1" y="connsiteY1"/>
                </a:cxn>
                <a:cxn ang="0">
                  <a:pos x="connsiteX2" y="connsiteY2"/>
                </a:cxn>
              </a:cxnLst>
              <a:rect l="l" t="t" r="r" b="b"/>
              <a:pathLst>
                <a:path w="340360" h="257404">
                  <a:moveTo>
                    <a:pt x="0" y="3404"/>
                  </a:moveTo>
                  <a:cubicBezTo>
                    <a:pt x="80222" y="-5591"/>
                    <a:pt x="162030" y="1287"/>
                    <a:pt x="247015" y="47854"/>
                  </a:cubicBezTo>
                  <a:cubicBezTo>
                    <a:pt x="316442" y="102887"/>
                    <a:pt x="337925" y="156333"/>
                    <a:pt x="340360" y="257404"/>
                  </a:cubicBezTo>
                </a:path>
              </a:pathLst>
            </a:custGeom>
            <a:noFill/>
            <a:ln w="25400" cap="rnd">
              <a:gradFill>
                <a:gsLst>
                  <a:gs pos="5000">
                    <a:schemeClr val="accent3">
                      <a:alpha val="0"/>
                    </a:schemeClr>
                  </a:gs>
                  <a:gs pos="46000">
                    <a:schemeClr val="accent3"/>
                  </a:gs>
                </a:gsLst>
                <a:lin ang="30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Freeform: Shape 19">
              <a:extLst>
                <a:ext uri="{FF2B5EF4-FFF2-40B4-BE49-F238E27FC236}">
                  <a16:creationId xmlns:a16="http://schemas.microsoft.com/office/drawing/2014/main" id="{504D99FC-D62D-932A-2FCF-A4DB4ADDC63F}"/>
                </a:ext>
              </a:extLst>
            </p:cNvPr>
            <p:cNvSpPr/>
            <p:nvPr/>
          </p:nvSpPr>
          <p:spPr>
            <a:xfrm rot="16507954">
              <a:off x="8090451" y="4934939"/>
              <a:ext cx="97295" cy="79133"/>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Freeform: Shape 20">
              <a:extLst>
                <a:ext uri="{FF2B5EF4-FFF2-40B4-BE49-F238E27FC236}">
                  <a16:creationId xmlns:a16="http://schemas.microsoft.com/office/drawing/2014/main" id="{4BC6C928-3C18-BF28-358C-D69A55751F68}"/>
                </a:ext>
              </a:extLst>
            </p:cNvPr>
            <p:cNvSpPr/>
            <p:nvPr/>
          </p:nvSpPr>
          <p:spPr>
            <a:xfrm rot="19390912">
              <a:off x="4897794" y="4492119"/>
              <a:ext cx="1018330" cy="620303"/>
            </a:xfrm>
            <a:custGeom>
              <a:avLst/>
              <a:gdLst>
                <a:gd name="connsiteX0" fmla="*/ 0 w 340360"/>
                <a:gd name="connsiteY0" fmla="*/ 0 h 254000"/>
                <a:gd name="connsiteX1" fmla="*/ 193040 w 340360"/>
                <a:gd name="connsiteY1" fmla="*/ 2540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3404 h 257404"/>
                <a:gd name="connsiteX1" fmla="*/ 247015 w 340360"/>
                <a:gd name="connsiteY1" fmla="*/ 47854 h 257404"/>
                <a:gd name="connsiteX2" fmla="*/ 340360 w 340360"/>
                <a:gd name="connsiteY2" fmla="*/ 257404 h 257404"/>
                <a:gd name="connsiteX0" fmla="*/ 0 w 340360"/>
                <a:gd name="connsiteY0" fmla="*/ 3404 h 257404"/>
                <a:gd name="connsiteX1" fmla="*/ 247015 w 340360"/>
                <a:gd name="connsiteY1" fmla="*/ 47854 h 257404"/>
                <a:gd name="connsiteX2" fmla="*/ 340360 w 340360"/>
                <a:gd name="connsiteY2" fmla="*/ 257404 h 257404"/>
              </a:gdLst>
              <a:ahLst/>
              <a:cxnLst>
                <a:cxn ang="0">
                  <a:pos x="connsiteX0" y="connsiteY0"/>
                </a:cxn>
                <a:cxn ang="0">
                  <a:pos x="connsiteX1" y="connsiteY1"/>
                </a:cxn>
                <a:cxn ang="0">
                  <a:pos x="connsiteX2" y="connsiteY2"/>
                </a:cxn>
              </a:cxnLst>
              <a:rect l="l" t="t" r="r" b="b"/>
              <a:pathLst>
                <a:path w="340360" h="257404">
                  <a:moveTo>
                    <a:pt x="0" y="3404"/>
                  </a:moveTo>
                  <a:cubicBezTo>
                    <a:pt x="80222" y="-5591"/>
                    <a:pt x="162030" y="1287"/>
                    <a:pt x="247015" y="47854"/>
                  </a:cubicBezTo>
                  <a:cubicBezTo>
                    <a:pt x="316442" y="102887"/>
                    <a:pt x="337925" y="156333"/>
                    <a:pt x="340360" y="257404"/>
                  </a:cubicBezTo>
                </a:path>
              </a:pathLst>
            </a:custGeom>
            <a:noFill/>
            <a:ln w="25400" cap="rnd">
              <a:gradFill>
                <a:gsLst>
                  <a:gs pos="5000">
                    <a:schemeClr val="accent3">
                      <a:alpha val="0"/>
                    </a:schemeClr>
                  </a:gs>
                  <a:gs pos="46000">
                    <a:schemeClr val="accent3"/>
                  </a:gs>
                </a:gsLst>
                <a:lin ang="30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Freeform: Shape 21">
              <a:extLst>
                <a:ext uri="{FF2B5EF4-FFF2-40B4-BE49-F238E27FC236}">
                  <a16:creationId xmlns:a16="http://schemas.microsoft.com/office/drawing/2014/main" id="{12BE209B-FF7C-E358-9303-C70264AF631C}"/>
                </a:ext>
              </a:extLst>
            </p:cNvPr>
            <p:cNvSpPr/>
            <p:nvPr/>
          </p:nvSpPr>
          <p:spPr>
            <a:xfrm rot="8774839">
              <a:off x="5931529" y="4682436"/>
              <a:ext cx="97295" cy="79133"/>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Freeform: Shape 22">
              <a:extLst>
                <a:ext uri="{FF2B5EF4-FFF2-40B4-BE49-F238E27FC236}">
                  <a16:creationId xmlns:a16="http://schemas.microsoft.com/office/drawing/2014/main" id="{56568FC3-FAEA-A417-CA05-D2774A2AD1EC}"/>
                </a:ext>
              </a:extLst>
            </p:cNvPr>
            <p:cNvSpPr/>
            <p:nvPr/>
          </p:nvSpPr>
          <p:spPr>
            <a:xfrm rot="3569288" flipV="1">
              <a:off x="5988913" y="3701340"/>
              <a:ext cx="913841" cy="609273"/>
            </a:xfrm>
            <a:custGeom>
              <a:avLst/>
              <a:gdLst>
                <a:gd name="connsiteX0" fmla="*/ 0 w 340360"/>
                <a:gd name="connsiteY0" fmla="*/ 0 h 254000"/>
                <a:gd name="connsiteX1" fmla="*/ 193040 w 340360"/>
                <a:gd name="connsiteY1" fmla="*/ 2540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3404 h 257404"/>
                <a:gd name="connsiteX1" fmla="*/ 247015 w 340360"/>
                <a:gd name="connsiteY1" fmla="*/ 47854 h 257404"/>
                <a:gd name="connsiteX2" fmla="*/ 340360 w 340360"/>
                <a:gd name="connsiteY2" fmla="*/ 257404 h 257404"/>
                <a:gd name="connsiteX0" fmla="*/ 0 w 340360"/>
                <a:gd name="connsiteY0" fmla="*/ 3404 h 257404"/>
                <a:gd name="connsiteX1" fmla="*/ 247015 w 340360"/>
                <a:gd name="connsiteY1" fmla="*/ 47854 h 257404"/>
                <a:gd name="connsiteX2" fmla="*/ 340360 w 340360"/>
                <a:gd name="connsiteY2" fmla="*/ 257404 h 257404"/>
              </a:gdLst>
              <a:ahLst/>
              <a:cxnLst>
                <a:cxn ang="0">
                  <a:pos x="connsiteX0" y="connsiteY0"/>
                </a:cxn>
                <a:cxn ang="0">
                  <a:pos x="connsiteX1" y="connsiteY1"/>
                </a:cxn>
                <a:cxn ang="0">
                  <a:pos x="connsiteX2" y="connsiteY2"/>
                </a:cxn>
              </a:cxnLst>
              <a:rect l="l" t="t" r="r" b="b"/>
              <a:pathLst>
                <a:path w="340360" h="257404">
                  <a:moveTo>
                    <a:pt x="0" y="3404"/>
                  </a:moveTo>
                  <a:cubicBezTo>
                    <a:pt x="80222" y="-5591"/>
                    <a:pt x="162030" y="1287"/>
                    <a:pt x="247015" y="47854"/>
                  </a:cubicBezTo>
                  <a:cubicBezTo>
                    <a:pt x="316442" y="102887"/>
                    <a:pt x="337925" y="156333"/>
                    <a:pt x="340360" y="257404"/>
                  </a:cubicBezTo>
                </a:path>
              </a:pathLst>
            </a:custGeom>
            <a:noFill/>
            <a:ln w="25400" cap="rnd">
              <a:gradFill>
                <a:gsLst>
                  <a:gs pos="5000">
                    <a:schemeClr val="accent3">
                      <a:alpha val="0"/>
                    </a:schemeClr>
                  </a:gs>
                  <a:gs pos="46000">
                    <a:schemeClr val="accent3"/>
                  </a:gs>
                </a:gsLst>
                <a:lin ang="30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Freeform: Shape 23">
              <a:extLst>
                <a:ext uri="{FF2B5EF4-FFF2-40B4-BE49-F238E27FC236}">
                  <a16:creationId xmlns:a16="http://schemas.microsoft.com/office/drawing/2014/main" id="{7F349F35-4101-7946-082F-81FE85AFE199}"/>
                </a:ext>
              </a:extLst>
            </p:cNvPr>
            <p:cNvSpPr/>
            <p:nvPr/>
          </p:nvSpPr>
          <p:spPr>
            <a:xfrm rot="14185361" flipV="1">
              <a:off x="6858266" y="4218237"/>
              <a:ext cx="99651" cy="7852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Freeform: Shape 24">
              <a:extLst>
                <a:ext uri="{FF2B5EF4-FFF2-40B4-BE49-F238E27FC236}">
                  <a16:creationId xmlns:a16="http://schemas.microsoft.com/office/drawing/2014/main" id="{3ECAF5A0-D1E8-D50F-1D9C-98246D8FF312}"/>
                </a:ext>
              </a:extLst>
            </p:cNvPr>
            <p:cNvSpPr/>
            <p:nvPr/>
          </p:nvSpPr>
          <p:spPr>
            <a:xfrm rot="20170529">
              <a:off x="6500563" y="3008551"/>
              <a:ext cx="353653" cy="449977"/>
            </a:xfrm>
            <a:custGeom>
              <a:avLst/>
              <a:gdLst>
                <a:gd name="connsiteX0" fmla="*/ 0 w 340360"/>
                <a:gd name="connsiteY0" fmla="*/ 0 h 254000"/>
                <a:gd name="connsiteX1" fmla="*/ 193040 w 340360"/>
                <a:gd name="connsiteY1" fmla="*/ 2540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0 h 254000"/>
                <a:gd name="connsiteX1" fmla="*/ 247015 w 340360"/>
                <a:gd name="connsiteY1" fmla="*/ 44450 h 254000"/>
                <a:gd name="connsiteX2" fmla="*/ 340360 w 340360"/>
                <a:gd name="connsiteY2" fmla="*/ 254000 h 254000"/>
                <a:gd name="connsiteX0" fmla="*/ 0 w 340360"/>
                <a:gd name="connsiteY0" fmla="*/ 3404 h 257404"/>
                <a:gd name="connsiteX1" fmla="*/ 247015 w 340360"/>
                <a:gd name="connsiteY1" fmla="*/ 47854 h 257404"/>
                <a:gd name="connsiteX2" fmla="*/ 340360 w 340360"/>
                <a:gd name="connsiteY2" fmla="*/ 257404 h 257404"/>
                <a:gd name="connsiteX0" fmla="*/ 0 w 340360"/>
                <a:gd name="connsiteY0" fmla="*/ 3404 h 257404"/>
                <a:gd name="connsiteX1" fmla="*/ 247015 w 340360"/>
                <a:gd name="connsiteY1" fmla="*/ 47854 h 257404"/>
                <a:gd name="connsiteX2" fmla="*/ 340360 w 340360"/>
                <a:gd name="connsiteY2" fmla="*/ 257404 h 257404"/>
              </a:gdLst>
              <a:ahLst/>
              <a:cxnLst>
                <a:cxn ang="0">
                  <a:pos x="connsiteX0" y="connsiteY0"/>
                </a:cxn>
                <a:cxn ang="0">
                  <a:pos x="connsiteX1" y="connsiteY1"/>
                </a:cxn>
                <a:cxn ang="0">
                  <a:pos x="connsiteX2" y="connsiteY2"/>
                </a:cxn>
              </a:cxnLst>
              <a:rect l="l" t="t" r="r" b="b"/>
              <a:pathLst>
                <a:path w="340360" h="257404">
                  <a:moveTo>
                    <a:pt x="0" y="3404"/>
                  </a:moveTo>
                  <a:cubicBezTo>
                    <a:pt x="80222" y="-5591"/>
                    <a:pt x="162030" y="1287"/>
                    <a:pt x="247015" y="47854"/>
                  </a:cubicBezTo>
                  <a:cubicBezTo>
                    <a:pt x="316442" y="102887"/>
                    <a:pt x="337925" y="156333"/>
                    <a:pt x="340360" y="257404"/>
                  </a:cubicBezTo>
                </a:path>
              </a:pathLst>
            </a:custGeom>
            <a:noFill/>
            <a:ln w="25400" cap="rnd">
              <a:gradFill>
                <a:gsLst>
                  <a:gs pos="5000">
                    <a:schemeClr val="accent3">
                      <a:alpha val="0"/>
                    </a:schemeClr>
                  </a:gs>
                  <a:gs pos="46000">
                    <a:schemeClr val="accent3"/>
                  </a:gs>
                </a:gsLst>
                <a:lin ang="30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Freeform: Shape 25">
              <a:extLst>
                <a:ext uri="{FF2B5EF4-FFF2-40B4-BE49-F238E27FC236}">
                  <a16:creationId xmlns:a16="http://schemas.microsoft.com/office/drawing/2014/main" id="{84AF2DFA-22BC-48DD-00B0-6FD29455CE42}"/>
                </a:ext>
              </a:extLst>
            </p:cNvPr>
            <p:cNvSpPr/>
            <p:nvPr/>
          </p:nvSpPr>
          <p:spPr>
            <a:xfrm rot="9554456">
              <a:off x="6861373" y="3299714"/>
              <a:ext cx="99651" cy="7852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7" name="Group 26">
            <a:extLst>
              <a:ext uri="{FF2B5EF4-FFF2-40B4-BE49-F238E27FC236}">
                <a16:creationId xmlns:a16="http://schemas.microsoft.com/office/drawing/2014/main" id="{26FEFCFC-A80A-6C05-A689-0163BB0E5F4A}"/>
              </a:ext>
              <a:ext uri="{C183D7F6-B498-43B3-948B-1728B52AA6E4}">
                <adec:decorative xmlns:adec="http://schemas.microsoft.com/office/drawing/2017/decorative" val="1"/>
              </a:ext>
            </a:extLst>
          </p:cNvPr>
          <p:cNvGrpSpPr/>
          <p:nvPr/>
        </p:nvGrpSpPr>
        <p:grpSpPr>
          <a:xfrm>
            <a:off x="1043938" y="-172052"/>
            <a:ext cx="2229290" cy="2185413"/>
            <a:chOff x="874373" y="-332259"/>
            <a:chExt cx="2251572" cy="2207254"/>
          </a:xfrm>
        </p:grpSpPr>
        <p:sp>
          <p:nvSpPr>
            <p:cNvPr id="28" name="Freeform: Shape 27">
              <a:extLst>
                <a:ext uri="{FF2B5EF4-FFF2-40B4-BE49-F238E27FC236}">
                  <a16:creationId xmlns:a16="http://schemas.microsoft.com/office/drawing/2014/main" id="{84918884-FBC5-ED61-F370-AF8271F0DBBD}"/>
                </a:ext>
                <a:ext uri="{C183D7F6-B498-43B3-948B-1728B52AA6E4}">
                  <adec:decorative xmlns:adec="http://schemas.microsoft.com/office/drawing/2017/decorative" val="1"/>
                </a:ext>
              </a:extLst>
            </p:cNvPr>
            <p:cNvSpPr/>
            <p:nvPr/>
          </p:nvSpPr>
          <p:spPr>
            <a:xfrm rot="3368759">
              <a:off x="1247078" y="-58020"/>
              <a:ext cx="1580556" cy="1542708"/>
            </a:xfrm>
            <a:custGeom>
              <a:avLst/>
              <a:gdLst>
                <a:gd name="connsiteX0" fmla="*/ 1217380 w 1356914"/>
                <a:gd name="connsiteY0" fmla="*/ 1163163 h 1324422"/>
                <a:gd name="connsiteX1" fmla="*/ 737120 w 1356914"/>
                <a:gd name="connsiteY1" fmla="*/ 1324423 h 1324422"/>
                <a:gd name="connsiteX2" fmla="*/ 0 w 1356914"/>
                <a:gd name="connsiteY2" fmla="*/ 617724 h 1324422"/>
                <a:gd name="connsiteX3" fmla="*/ 682843 w 1356914"/>
                <a:gd name="connsiteY3" fmla="*/ 0 h 1324422"/>
                <a:gd name="connsiteX4" fmla="*/ 1188063 w 1356914"/>
                <a:gd name="connsiteY4" fmla="*/ 189863 h 1324422"/>
                <a:gd name="connsiteX5" fmla="*/ 1355465 w 1356914"/>
                <a:gd name="connsiteY5" fmla="*/ 620729 h 1324422"/>
                <a:gd name="connsiteX6" fmla="*/ 1356057 w 1356914"/>
                <a:gd name="connsiteY6" fmla="*/ 688077 h 1324422"/>
                <a:gd name="connsiteX7" fmla="*/ 1217380 w 1356914"/>
                <a:gd name="connsiteY7" fmla="*/ 1163163 h 132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6914" h="1324422">
                  <a:moveTo>
                    <a:pt x="1217380" y="1163163"/>
                  </a:moveTo>
                  <a:cubicBezTo>
                    <a:pt x="1110763" y="1271564"/>
                    <a:pt x="953742" y="1324423"/>
                    <a:pt x="737120" y="1324423"/>
                  </a:cubicBezTo>
                  <a:cubicBezTo>
                    <a:pt x="268694" y="1324423"/>
                    <a:pt x="0" y="1066890"/>
                    <a:pt x="0" y="617724"/>
                  </a:cubicBezTo>
                  <a:cubicBezTo>
                    <a:pt x="0" y="259840"/>
                    <a:pt x="287145" y="0"/>
                    <a:pt x="682843" y="0"/>
                  </a:cubicBezTo>
                  <a:cubicBezTo>
                    <a:pt x="890213" y="0"/>
                    <a:pt x="1064824" y="65631"/>
                    <a:pt x="1188063" y="189863"/>
                  </a:cubicBezTo>
                  <a:cubicBezTo>
                    <a:pt x="1299467" y="302288"/>
                    <a:pt x="1357348" y="451313"/>
                    <a:pt x="1355465" y="620729"/>
                  </a:cubicBezTo>
                  <a:cubicBezTo>
                    <a:pt x="1355196" y="641873"/>
                    <a:pt x="1355626" y="664358"/>
                    <a:pt x="1356057" y="688077"/>
                  </a:cubicBezTo>
                  <a:cubicBezTo>
                    <a:pt x="1358962" y="826154"/>
                    <a:pt x="1362673" y="1015158"/>
                    <a:pt x="1217380" y="1163163"/>
                  </a:cubicBezTo>
                  <a:close/>
                </a:path>
              </a:pathLst>
            </a:custGeom>
            <a:solidFill>
              <a:schemeClr val="bg1">
                <a:alpha val="3000"/>
              </a:schemeClr>
            </a:solidFill>
            <a:ln w="5367" cap="flat">
              <a:noFill/>
              <a:prstDash val="solid"/>
              <a:miter/>
            </a:ln>
          </p:spPr>
          <p:txBody>
            <a:bodyPr rtlCol="0" anchor="ctr"/>
            <a:lstStyle/>
            <a:p>
              <a:endParaRPr lang="en-AU" dirty="0"/>
            </a:p>
          </p:txBody>
        </p:sp>
        <p:sp>
          <p:nvSpPr>
            <p:cNvPr id="29" name="Freeform: Shape 28">
              <a:extLst>
                <a:ext uri="{FF2B5EF4-FFF2-40B4-BE49-F238E27FC236}">
                  <a16:creationId xmlns:a16="http://schemas.microsoft.com/office/drawing/2014/main" id="{05C19411-BD01-C1C9-3D04-832E16A52800}"/>
                </a:ext>
              </a:extLst>
            </p:cNvPr>
            <p:cNvSpPr/>
            <p:nvPr/>
          </p:nvSpPr>
          <p:spPr>
            <a:xfrm rot="4460425">
              <a:off x="896532" y="-354418"/>
              <a:ext cx="2207254" cy="2251572"/>
            </a:xfrm>
            <a:custGeom>
              <a:avLst/>
              <a:gdLst>
                <a:gd name="connsiteX0" fmla="*/ 948632 w 2207254"/>
                <a:gd name="connsiteY0" fmla="*/ 2251573 h 2251572"/>
                <a:gd name="connsiteX1" fmla="*/ 226628 w 2207254"/>
                <a:gd name="connsiteY1" fmla="*/ 1835034 h 2251572"/>
                <a:gd name="connsiteX2" fmla="*/ 0 w 2207254"/>
                <a:gd name="connsiteY2" fmla="*/ 1253479 h 2251572"/>
                <a:gd name="connsiteX3" fmla="*/ 153847 w 2207254"/>
                <a:gd name="connsiteY3" fmla="*/ 556494 h 2251572"/>
                <a:gd name="connsiteX4" fmla="*/ 530825 w 2207254"/>
                <a:gd name="connsiteY4" fmla="*/ 165768 h 2251572"/>
                <a:gd name="connsiteX5" fmla="*/ 1236368 w 2207254"/>
                <a:gd name="connsiteY5" fmla="*/ 0 h 2251572"/>
                <a:gd name="connsiteX6" fmla="*/ 2018620 w 2207254"/>
                <a:gd name="connsiteY6" fmla="*/ 499771 h 2251572"/>
                <a:gd name="connsiteX7" fmla="*/ 2020180 w 2207254"/>
                <a:gd name="connsiteY7" fmla="*/ 502884 h 2251572"/>
                <a:gd name="connsiteX8" fmla="*/ 2189196 w 2207254"/>
                <a:gd name="connsiteY8" fmla="*/ 1321364 h 2251572"/>
                <a:gd name="connsiteX9" fmla="*/ 1773487 w 2207254"/>
                <a:gd name="connsiteY9" fmla="*/ 1892025 h 2251572"/>
                <a:gd name="connsiteX10" fmla="*/ 948632 w 2207254"/>
                <a:gd name="connsiteY10" fmla="*/ 2251573 h 2251572"/>
                <a:gd name="connsiteX11" fmla="*/ 1236368 w 2207254"/>
                <a:gd name="connsiteY11" fmla="*/ 242185 h 2251572"/>
                <a:gd name="connsiteX12" fmla="*/ 242766 w 2207254"/>
                <a:gd name="connsiteY12" fmla="*/ 1253479 h 2251572"/>
                <a:gd name="connsiteX13" fmla="*/ 425284 w 2207254"/>
                <a:gd name="connsiteY13" fmla="*/ 1695776 h 2251572"/>
                <a:gd name="connsiteX14" fmla="*/ 948632 w 2207254"/>
                <a:gd name="connsiteY14" fmla="*/ 2009334 h 2251572"/>
                <a:gd name="connsiteX15" fmla="*/ 1956059 w 2207254"/>
                <a:gd name="connsiteY15" fmla="*/ 1253748 h 2251572"/>
                <a:gd name="connsiteX16" fmla="*/ 1802374 w 2207254"/>
                <a:gd name="connsiteY16" fmla="*/ 609889 h 2251572"/>
                <a:gd name="connsiteX17" fmla="*/ 1652561 w 2207254"/>
                <a:gd name="connsiteY17" fmla="*/ 420241 h 2251572"/>
                <a:gd name="connsiteX18" fmla="*/ 1236422 w 2207254"/>
                <a:gd name="connsiteY18" fmla="*/ 242185 h 225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7254" h="2251572">
                  <a:moveTo>
                    <a:pt x="948632" y="2251573"/>
                  </a:moveTo>
                  <a:cubicBezTo>
                    <a:pt x="594246" y="2251573"/>
                    <a:pt x="360410" y="2025058"/>
                    <a:pt x="226628" y="1835034"/>
                  </a:cubicBezTo>
                  <a:cubicBezTo>
                    <a:pt x="77838" y="1623706"/>
                    <a:pt x="0" y="1382541"/>
                    <a:pt x="0" y="1253479"/>
                  </a:cubicBezTo>
                  <a:cubicBezTo>
                    <a:pt x="0" y="1151679"/>
                    <a:pt x="0" y="841985"/>
                    <a:pt x="153847" y="556494"/>
                  </a:cubicBezTo>
                  <a:cubicBezTo>
                    <a:pt x="243411" y="390243"/>
                    <a:pt x="370254" y="258767"/>
                    <a:pt x="530825" y="165768"/>
                  </a:cubicBezTo>
                  <a:cubicBezTo>
                    <a:pt x="720659" y="55757"/>
                    <a:pt x="958046" y="0"/>
                    <a:pt x="1236368" y="0"/>
                  </a:cubicBezTo>
                  <a:cubicBezTo>
                    <a:pt x="1753960" y="0"/>
                    <a:pt x="2008076" y="479379"/>
                    <a:pt x="2018620" y="499771"/>
                  </a:cubicBezTo>
                  <a:lnTo>
                    <a:pt x="2020180" y="502884"/>
                  </a:lnTo>
                  <a:cubicBezTo>
                    <a:pt x="2046162" y="556816"/>
                    <a:pt x="2271714" y="1038126"/>
                    <a:pt x="2189196" y="1321364"/>
                  </a:cubicBezTo>
                  <a:cubicBezTo>
                    <a:pt x="2141912" y="1483697"/>
                    <a:pt x="1974833" y="1713002"/>
                    <a:pt x="1773487" y="1892025"/>
                  </a:cubicBezTo>
                  <a:cubicBezTo>
                    <a:pt x="1588979" y="2056075"/>
                    <a:pt x="1296132" y="2251573"/>
                    <a:pt x="948632" y="2251573"/>
                  </a:cubicBezTo>
                  <a:close/>
                  <a:moveTo>
                    <a:pt x="1236368" y="242185"/>
                  </a:moveTo>
                  <a:cubicBezTo>
                    <a:pt x="415171" y="242185"/>
                    <a:pt x="242766" y="792132"/>
                    <a:pt x="242766" y="1253479"/>
                  </a:cubicBezTo>
                  <a:cubicBezTo>
                    <a:pt x="242766" y="1317339"/>
                    <a:pt x="296289" y="1512622"/>
                    <a:pt x="425284" y="1695776"/>
                  </a:cubicBezTo>
                  <a:cubicBezTo>
                    <a:pt x="525984" y="1838790"/>
                    <a:pt x="698550" y="2009334"/>
                    <a:pt x="948632" y="2009334"/>
                  </a:cubicBezTo>
                  <a:cubicBezTo>
                    <a:pt x="1456703" y="2009334"/>
                    <a:pt x="1901244" y="1441839"/>
                    <a:pt x="1956059" y="1253748"/>
                  </a:cubicBezTo>
                  <a:cubicBezTo>
                    <a:pt x="1998716" y="1107406"/>
                    <a:pt x="1884838" y="782204"/>
                    <a:pt x="1802374" y="609889"/>
                  </a:cubicBezTo>
                  <a:cubicBezTo>
                    <a:pt x="1796618" y="599371"/>
                    <a:pt x="1745623" y="508572"/>
                    <a:pt x="1652561" y="420241"/>
                  </a:cubicBezTo>
                  <a:cubicBezTo>
                    <a:pt x="1528032" y="302127"/>
                    <a:pt x="1388010" y="242185"/>
                    <a:pt x="1236422" y="242185"/>
                  </a:cubicBezTo>
                  <a:close/>
                </a:path>
              </a:pathLst>
            </a:custGeom>
            <a:solidFill>
              <a:schemeClr val="bg1">
                <a:alpha val="3000"/>
              </a:schemeClr>
            </a:solidFill>
            <a:ln w="5367" cap="flat">
              <a:noFill/>
              <a:prstDash val="solid"/>
              <a:miter/>
            </a:ln>
          </p:spPr>
          <p:txBody>
            <a:bodyPr rtlCol="0" anchor="ctr"/>
            <a:lstStyle/>
            <a:p>
              <a:endParaRPr lang="en-AU"/>
            </a:p>
          </p:txBody>
        </p:sp>
      </p:grpSp>
      <p:grpSp>
        <p:nvGrpSpPr>
          <p:cNvPr id="30" name="Group 29">
            <a:extLst>
              <a:ext uri="{FF2B5EF4-FFF2-40B4-BE49-F238E27FC236}">
                <a16:creationId xmlns:a16="http://schemas.microsoft.com/office/drawing/2014/main" id="{87276CBE-7030-6169-AB85-5A00A50ADA9B}"/>
              </a:ext>
              <a:ext uri="{C183D7F6-B498-43B3-948B-1728B52AA6E4}">
                <adec:decorative xmlns:adec="http://schemas.microsoft.com/office/drawing/2017/decorative" val="1"/>
              </a:ext>
            </a:extLst>
          </p:cNvPr>
          <p:cNvGrpSpPr/>
          <p:nvPr/>
        </p:nvGrpSpPr>
        <p:grpSpPr>
          <a:xfrm>
            <a:off x="-173101" y="1539441"/>
            <a:ext cx="2171166" cy="2128430"/>
            <a:chOff x="-219124" y="1471511"/>
            <a:chExt cx="2263348" cy="2218799"/>
          </a:xfrm>
        </p:grpSpPr>
        <p:sp>
          <p:nvSpPr>
            <p:cNvPr id="31" name="Freeform: Shape 30">
              <a:extLst>
                <a:ext uri="{FF2B5EF4-FFF2-40B4-BE49-F238E27FC236}">
                  <a16:creationId xmlns:a16="http://schemas.microsoft.com/office/drawing/2014/main" id="{6FA94C51-D762-65D6-58C4-C289AFE64EE6}"/>
                </a:ext>
                <a:ext uri="{C183D7F6-B498-43B3-948B-1728B52AA6E4}">
                  <adec:decorative xmlns:adec="http://schemas.microsoft.com/office/drawing/2017/decorative" val="1"/>
                </a:ext>
              </a:extLst>
            </p:cNvPr>
            <p:cNvSpPr/>
            <p:nvPr/>
          </p:nvSpPr>
          <p:spPr>
            <a:xfrm rot="8772243">
              <a:off x="141140" y="1842448"/>
              <a:ext cx="1542862" cy="1505918"/>
            </a:xfrm>
            <a:custGeom>
              <a:avLst/>
              <a:gdLst>
                <a:gd name="connsiteX0" fmla="*/ 1223747 w 1364011"/>
                <a:gd name="connsiteY0" fmla="*/ 1169247 h 1331349"/>
                <a:gd name="connsiteX1" fmla="*/ 740975 w 1364011"/>
                <a:gd name="connsiteY1" fmla="*/ 1331350 h 1331349"/>
                <a:gd name="connsiteX2" fmla="*/ 0 w 1364011"/>
                <a:gd name="connsiteY2" fmla="*/ 620955 h 1331349"/>
                <a:gd name="connsiteX3" fmla="*/ 686414 w 1364011"/>
                <a:gd name="connsiteY3" fmla="*/ 0 h 1331349"/>
                <a:gd name="connsiteX4" fmla="*/ 1194276 w 1364011"/>
                <a:gd name="connsiteY4" fmla="*/ 190856 h 1331349"/>
                <a:gd name="connsiteX5" fmla="*/ 1362554 w 1364011"/>
                <a:gd name="connsiteY5" fmla="*/ 623976 h 1331349"/>
                <a:gd name="connsiteX6" fmla="*/ 1363149 w 1364011"/>
                <a:gd name="connsiteY6" fmla="*/ 691676 h 1331349"/>
                <a:gd name="connsiteX7" fmla="*/ 1223747 w 1364011"/>
                <a:gd name="connsiteY7" fmla="*/ 1169247 h 133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011" h="1331349">
                  <a:moveTo>
                    <a:pt x="1223747" y="1169247"/>
                  </a:moveTo>
                  <a:cubicBezTo>
                    <a:pt x="1116572" y="1278214"/>
                    <a:pt x="958730" y="1331350"/>
                    <a:pt x="740975" y="1331350"/>
                  </a:cubicBezTo>
                  <a:cubicBezTo>
                    <a:pt x="270099" y="1331350"/>
                    <a:pt x="0" y="1072470"/>
                    <a:pt x="0" y="620955"/>
                  </a:cubicBezTo>
                  <a:cubicBezTo>
                    <a:pt x="0" y="261199"/>
                    <a:pt x="288646" y="0"/>
                    <a:pt x="686414" y="0"/>
                  </a:cubicBezTo>
                  <a:cubicBezTo>
                    <a:pt x="894869" y="0"/>
                    <a:pt x="1070393" y="65974"/>
                    <a:pt x="1194276" y="190856"/>
                  </a:cubicBezTo>
                  <a:cubicBezTo>
                    <a:pt x="1306263" y="303869"/>
                    <a:pt x="1364447" y="453673"/>
                    <a:pt x="1362554" y="623976"/>
                  </a:cubicBezTo>
                  <a:cubicBezTo>
                    <a:pt x="1362284" y="645230"/>
                    <a:pt x="1362716" y="667833"/>
                    <a:pt x="1363149" y="691676"/>
                  </a:cubicBezTo>
                  <a:cubicBezTo>
                    <a:pt x="1366069" y="830475"/>
                    <a:pt x="1369800" y="1020468"/>
                    <a:pt x="1223747" y="1169247"/>
                  </a:cubicBezTo>
                  <a:close/>
                </a:path>
              </a:pathLst>
            </a:custGeom>
            <a:solidFill>
              <a:schemeClr val="bg1">
                <a:alpha val="3000"/>
              </a:schemeClr>
            </a:solidFill>
            <a:ln w="539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44D940E9-F869-3CA2-A684-B2D481DAEB1F}"/>
                </a:ext>
              </a:extLst>
            </p:cNvPr>
            <p:cNvSpPr/>
            <p:nvPr/>
          </p:nvSpPr>
          <p:spPr>
            <a:xfrm rot="14588517">
              <a:off x="-196850" y="1449237"/>
              <a:ext cx="2218799" cy="2263348"/>
            </a:xfrm>
            <a:custGeom>
              <a:avLst/>
              <a:gdLst>
                <a:gd name="connsiteX0" fmla="*/ 953593 w 2218799"/>
                <a:gd name="connsiteY0" fmla="*/ 2263349 h 2263348"/>
                <a:gd name="connsiteX1" fmla="*/ 227813 w 2218799"/>
                <a:gd name="connsiteY1" fmla="*/ 1844631 h 2263348"/>
                <a:gd name="connsiteX2" fmla="*/ 0 w 2218799"/>
                <a:gd name="connsiteY2" fmla="*/ 1260035 h 2263348"/>
                <a:gd name="connsiteX3" fmla="*/ 154651 w 2218799"/>
                <a:gd name="connsiteY3" fmla="*/ 559404 h 2263348"/>
                <a:gd name="connsiteX4" fmla="*/ 533601 w 2218799"/>
                <a:gd name="connsiteY4" fmla="*/ 166634 h 2263348"/>
                <a:gd name="connsiteX5" fmla="*/ 1242835 w 2218799"/>
                <a:gd name="connsiteY5" fmla="*/ 0 h 2263348"/>
                <a:gd name="connsiteX6" fmla="*/ 2029177 w 2218799"/>
                <a:gd name="connsiteY6" fmla="*/ 502385 h 2263348"/>
                <a:gd name="connsiteX7" fmla="*/ 2030745 w 2218799"/>
                <a:gd name="connsiteY7" fmla="*/ 505514 h 2263348"/>
                <a:gd name="connsiteX8" fmla="*/ 2200646 w 2218799"/>
                <a:gd name="connsiteY8" fmla="*/ 1328275 h 2263348"/>
                <a:gd name="connsiteX9" fmla="*/ 1782763 w 2218799"/>
                <a:gd name="connsiteY9" fmla="*/ 1901920 h 2263348"/>
                <a:gd name="connsiteX10" fmla="*/ 953593 w 2218799"/>
                <a:gd name="connsiteY10" fmla="*/ 2263349 h 2263348"/>
                <a:gd name="connsiteX11" fmla="*/ 1242835 w 2218799"/>
                <a:gd name="connsiteY11" fmla="*/ 243451 h 2263348"/>
                <a:gd name="connsiteX12" fmla="*/ 244036 w 2218799"/>
                <a:gd name="connsiteY12" fmla="*/ 1260035 h 2263348"/>
                <a:gd name="connsiteX13" fmla="*/ 427508 w 2218799"/>
                <a:gd name="connsiteY13" fmla="*/ 1704646 h 2263348"/>
                <a:gd name="connsiteX14" fmla="*/ 953593 w 2218799"/>
                <a:gd name="connsiteY14" fmla="*/ 2019843 h 2263348"/>
                <a:gd name="connsiteX15" fmla="*/ 1966289 w 2218799"/>
                <a:gd name="connsiteY15" fmla="*/ 1260305 h 2263348"/>
                <a:gd name="connsiteX16" fmla="*/ 1811800 w 2218799"/>
                <a:gd name="connsiteY16" fmla="*/ 613079 h 2263348"/>
                <a:gd name="connsiteX17" fmla="*/ 1661204 w 2218799"/>
                <a:gd name="connsiteY17" fmla="*/ 422439 h 2263348"/>
                <a:gd name="connsiteX18" fmla="*/ 1242889 w 2218799"/>
                <a:gd name="connsiteY18" fmla="*/ 243451 h 226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18799" h="2263348">
                  <a:moveTo>
                    <a:pt x="953593" y="2263349"/>
                  </a:moveTo>
                  <a:cubicBezTo>
                    <a:pt x="597354" y="2263349"/>
                    <a:pt x="362295" y="2035649"/>
                    <a:pt x="227813" y="1844631"/>
                  </a:cubicBezTo>
                  <a:cubicBezTo>
                    <a:pt x="78245" y="1632198"/>
                    <a:pt x="0" y="1389772"/>
                    <a:pt x="0" y="1260035"/>
                  </a:cubicBezTo>
                  <a:cubicBezTo>
                    <a:pt x="0" y="1157702"/>
                    <a:pt x="0" y="846389"/>
                    <a:pt x="154651" y="559404"/>
                  </a:cubicBezTo>
                  <a:cubicBezTo>
                    <a:pt x="244684" y="392284"/>
                    <a:pt x="372191" y="260120"/>
                    <a:pt x="533601" y="166634"/>
                  </a:cubicBezTo>
                  <a:cubicBezTo>
                    <a:pt x="724428" y="56048"/>
                    <a:pt x="963056" y="0"/>
                    <a:pt x="1242835" y="0"/>
                  </a:cubicBezTo>
                  <a:cubicBezTo>
                    <a:pt x="1763134" y="0"/>
                    <a:pt x="2018579" y="481886"/>
                    <a:pt x="2029177" y="502385"/>
                  </a:cubicBezTo>
                  <a:lnTo>
                    <a:pt x="2030745" y="505514"/>
                  </a:lnTo>
                  <a:cubicBezTo>
                    <a:pt x="2056863" y="559728"/>
                    <a:pt x="2283595" y="1043556"/>
                    <a:pt x="2200646" y="1328275"/>
                  </a:cubicBezTo>
                  <a:cubicBezTo>
                    <a:pt x="2153115" y="1491457"/>
                    <a:pt x="1985161" y="1721962"/>
                    <a:pt x="1782763" y="1901920"/>
                  </a:cubicBezTo>
                  <a:cubicBezTo>
                    <a:pt x="1597289" y="2066829"/>
                    <a:pt x="1302911" y="2263349"/>
                    <a:pt x="953593" y="2263349"/>
                  </a:cubicBezTo>
                  <a:close/>
                  <a:moveTo>
                    <a:pt x="1242835" y="243451"/>
                  </a:moveTo>
                  <a:cubicBezTo>
                    <a:pt x="417342" y="243451"/>
                    <a:pt x="244036" y="796274"/>
                    <a:pt x="244036" y="1260035"/>
                  </a:cubicBezTo>
                  <a:cubicBezTo>
                    <a:pt x="244036" y="1324229"/>
                    <a:pt x="297839" y="1520533"/>
                    <a:pt x="427508" y="1704646"/>
                  </a:cubicBezTo>
                  <a:cubicBezTo>
                    <a:pt x="528735" y="1848408"/>
                    <a:pt x="702204" y="2019843"/>
                    <a:pt x="953593" y="2019843"/>
                  </a:cubicBezTo>
                  <a:cubicBezTo>
                    <a:pt x="1464321" y="2019843"/>
                    <a:pt x="1911188" y="1449380"/>
                    <a:pt x="1966289" y="1260305"/>
                  </a:cubicBezTo>
                  <a:cubicBezTo>
                    <a:pt x="2009170" y="1113198"/>
                    <a:pt x="1894696" y="786295"/>
                    <a:pt x="1811800" y="613079"/>
                  </a:cubicBezTo>
                  <a:cubicBezTo>
                    <a:pt x="1806014" y="602506"/>
                    <a:pt x="1754752" y="511232"/>
                    <a:pt x="1661204" y="422439"/>
                  </a:cubicBezTo>
                  <a:cubicBezTo>
                    <a:pt x="1536023" y="303707"/>
                    <a:pt x="1395269" y="243451"/>
                    <a:pt x="1242889" y="243451"/>
                  </a:cubicBezTo>
                  <a:close/>
                </a:path>
              </a:pathLst>
            </a:custGeom>
            <a:solidFill>
              <a:schemeClr val="bg1">
                <a:alpha val="3000"/>
              </a:schemeClr>
            </a:solidFill>
            <a:ln w="5390" cap="flat">
              <a:noFill/>
              <a:prstDash val="solid"/>
              <a:miter/>
            </a:ln>
          </p:spPr>
          <p:txBody>
            <a:bodyPr rtlCol="0" anchor="ctr"/>
            <a:lstStyle/>
            <a:p>
              <a:endParaRPr lang="en-AU"/>
            </a:p>
          </p:txBody>
        </p:sp>
      </p:grpSp>
      <p:grpSp>
        <p:nvGrpSpPr>
          <p:cNvPr id="33" name="Group 32">
            <a:extLst>
              <a:ext uri="{FF2B5EF4-FFF2-40B4-BE49-F238E27FC236}">
                <a16:creationId xmlns:a16="http://schemas.microsoft.com/office/drawing/2014/main" id="{E884D315-03D2-9721-AA99-CC70FB3FB4D6}"/>
              </a:ext>
              <a:ext uri="{C183D7F6-B498-43B3-948B-1728B52AA6E4}">
                <adec:decorative xmlns:adec="http://schemas.microsoft.com/office/drawing/2017/decorative" val="1"/>
              </a:ext>
            </a:extLst>
          </p:cNvPr>
          <p:cNvGrpSpPr/>
          <p:nvPr/>
        </p:nvGrpSpPr>
        <p:grpSpPr>
          <a:xfrm>
            <a:off x="1177639" y="3108099"/>
            <a:ext cx="2411567" cy="2459986"/>
            <a:chOff x="1054620" y="3136595"/>
            <a:chExt cx="2657608" cy="2710967"/>
          </a:xfrm>
        </p:grpSpPr>
        <p:sp>
          <p:nvSpPr>
            <p:cNvPr id="34" name="Freeform: Shape 33">
              <a:extLst>
                <a:ext uri="{FF2B5EF4-FFF2-40B4-BE49-F238E27FC236}">
                  <a16:creationId xmlns:a16="http://schemas.microsoft.com/office/drawing/2014/main" id="{DAEA0DEB-8D68-48FD-FEDA-1F0D25F1385D}"/>
                </a:ext>
                <a:ext uri="{C183D7F6-B498-43B3-948B-1728B52AA6E4}">
                  <adec:decorative xmlns:adec="http://schemas.microsoft.com/office/drawing/2017/decorative" val="1"/>
                </a:ext>
              </a:extLst>
            </p:cNvPr>
            <p:cNvSpPr/>
            <p:nvPr/>
          </p:nvSpPr>
          <p:spPr>
            <a:xfrm rot="15216341">
              <a:off x="1514429" y="3641582"/>
              <a:ext cx="1818148" cy="1774611"/>
            </a:xfrm>
            <a:custGeom>
              <a:avLst/>
              <a:gdLst>
                <a:gd name="connsiteX0" fmla="*/ 1465766 w 1633770"/>
                <a:gd name="connsiteY0" fmla="*/ 1400487 h 1594648"/>
                <a:gd name="connsiteX1" fmla="*/ 887517 w 1633770"/>
                <a:gd name="connsiteY1" fmla="*/ 1594649 h 1594648"/>
                <a:gd name="connsiteX2" fmla="*/ 0 w 1633770"/>
                <a:gd name="connsiteY2" fmla="*/ 743760 h 1594648"/>
                <a:gd name="connsiteX3" fmla="*/ 822166 w 1633770"/>
                <a:gd name="connsiteY3" fmla="*/ 0 h 1594648"/>
                <a:gd name="connsiteX4" fmla="*/ 1430467 w 1633770"/>
                <a:gd name="connsiteY4" fmla="*/ 228601 h 1594648"/>
                <a:gd name="connsiteX5" fmla="*/ 1632025 w 1633770"/>
                <a:gd name="connsiteY5" fmla="*/ 747379 h 1594648"/>
                <a:gd name="connsiteX6" fmla="*/ 1632738 w 1633770"/>
                <a:gd name="connsiteY6" fmla="*/ 828468 h 1594648"/>
                <a:gd name="connsiteX7" fmla="*/ 1465766 w 1633770"/>
                <a:gd name="connsiteY7" fmla="*/ 1400487 h 159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770" h="1594648">
                  <a:moveTo>
                    <a:pt x="1465766" y="1400487"/>
                  </a:moveTo>
                  <a:cubicBezTo>
                    <a:pt x="1337395" y="1531005"/>
                    <a:pt x="1148338" y="1594649"/>
                    <a:pt x="887517" y="1594649"/>
                  </a:cubicBezTo>
                  <a:cubicBezTo>
                    <a:pt x="323516" y="1594649"/>
                    <a:pt x="0" y="1284571"/>
                    <a:pt x="0" y="743760"/>
                  </a:cubicBezTo>
                  <a:cubicBezTo>
                    <a:pt x="0" y="312856"/>
                    <a:pt x="345732" y="0"/>
                    <a:pt x="822166" y="0"/>
                  </a:cubicBezTo>
                  <a:cubicBezTo>
                    <a:pt x="1071846" y="0"/>
                    <a:pt x="1282084" y="79022"/>
                    <a:pt x="1430467" y="228601"/>
                  </a:cubicBezTo>
                  <a:cubicBezTo>
                    <a:pt x="1564602" y="363965"/>
                    <a:pt x="1634292" y="543395"/>
                    <a:pt x="1632025" y="747379"/>
                  </a:cubicBezTo>
                  <a:cubicBezTo>
                    <a:pt x="1631702" y="772836"/>
                    <a:pt x="1632220" y="799909"/>
                    <a:pt x="1632738" y="828468"/>
                  </a:cubicBezTo>
                  <a:cubicBezTo>
                    <a:pt x="1636235" y="994717"/>
                    <a:pt x="1640704" y="1222284"/>
                    <a:pt x="1465766" y="1400487"/>
                  </a:cubicBezTo>
                  <a:close/>
                </a:path>
              </a:pathLst>
            </a:custGeom>
            <a:solidFill>
              <a:schemeClr val="bg1">
                <a:alpha val="3000"/>
              </a:schemeClr>
            </a:solidFill>
            <a:ln w="6458" cap="flat">
              <a:noFill/>
              <a:prstDash val="solid"/>
              <a:miter/>
            </a:ln>
          </p:spPr>
          <p:txBody>
            <a:bodyPr rtlCol="0" anchor="ctr"/>
            <a:lstStyle/>
            <a:p>
              <a:endParaRPr lang="en-AU" dirty="0"/>
            </a:p>
          </p:txBody>
        </p:sp>
        <p:sp>
          <p:nvSpPr>
            <p:cNvPr id="35" name="Freeform: Shape 34">
              <a:extLst>
                <a:ext uri="{FF2B5EF4-FFF2-40B4-BE49-F238E27FC236}">
                  <a16:creationId xmlns:a16="http://schemas.microsoft.com/office/drawing/2014/main" id="{13B26F62-401F-EB3B-EFB4-F42574859E63}"/>
                </a:ext>
              </a:extLst>
            </p:cNvPr>
            <p:cNvSpPr/>
            <p:nvPr/>
          </p:nvSpPr>
          <p:spPr>
            <a:xfrm rot="10476232">
              <a:off x="1054620" y="3136595"/>
              <a:ext cx="2657608" cy="2710967"/>
            </a:xfrm>
            <a:custGeom>
              <a:avLst/>
              <a:gdLst>
                <a:gd name="connsiteX0" fmla="*/ 1142185 w 2657608"/>
                <a:gd name="connsiteY0" fmla="*/ 2710968 h 2710967"/>
                <a:gd name="connsiteX1" fmla="*/ 272868 w 2657608"/>
                <a:gd name="connsiteY1" fmla="*/ 2209442 h 2710967"/>
                <a:gd name="connsiteX2" fmla="*/ 0 w 2657608"/>
                <a:gd name="connsiteY2" fmla="*/ 1509231 h 2710967"/>
                <a:gd name="connsiteX3" fmla="*/ 185237 w 2657608"/>
                <a:gd name="connsiteY3" fmla="*/ 670037 h 2710967"/>
                <a:gd name="connsiteX4" fmla="*/ 639131 w 2657608"/>
                <a:gd name="connsiteY4" fmla="*/ 199590 h 2710967"/>
                <a:gd name="connsiteX5" fmla="*/ 1488629 w 2657608"/>
                <a:gd name="connsiteY5" fmla="*/ 0 h 2710967"/>
                <a:gd name="connsiteX6" fmla="*/ 2430486 w 2657608"/>
                <a:gd name="connsiteY6" fmla="*/ 601741 h 2710967"/>
                <a:gd name="connsiteX7" fmla="*/ 2432364 w 2657608"/>
                <a:gd name="connsiteY7" fmla="*/ 605488 h 2710967"/>
                <a:gd name="connsiteX8" fmla="*/ 2635865 w 2657608"/>
                <a:gd name="connsiteY8" fmla="*/ 1590966 h 2710967"/>
                <a:gd name="connsiteX9" fmla="*/ 2135338 w 2657608"/>
                <a:gd name="connsiteY9" fmla="*/ 2278061 h 2710967"/>
                <a:gd name="connsiteX10" fmla="*/ 1142185 w 2657608"/>
                <a:gd name="connsiteY10" fmla="*/ 2710968 h 2710967"/>
                <a:gd name="connsiteX11" fmla="*/ 1488629 w 2657608"/>
                <a:gd name="connsiteY11" fmla="*/ 291598 h 2710967"/>
                <a:gd name="connsiteX12" fmla="*/ 292298 w 2657608"/>
                <a:gd name="connsiteY12" fmla="*/ 1509231 h 2710967"/>
                <a:gd name="connsiteX13" fmla="*/ 512056 w 2657608"/>
                <a:gd name="connsiteY13" fmla="*/ 2041771 h 2710967"/>
                <a:gd name="connsiteX14" fmla="*/ 1142185 w 2657608"/>
                <a:gd name="connsiteY14" fmla="*/ 2419305 h 2710967"/>
                <a:gd name="connsiteX15" fmla="*/ 2355161 w 2657608"/>
                <a:gd name="connsiteY15" fmla="*/ 1509554 h 2710967"/>
                <a:gd name="connsiteX16" fmla="*/ 2170118 w 2657608"/>
                <a:gd name="connsiteY16" fmla="*/ 734327 h 2710967"/>
                <a:gd name="connsiteX17" fmla="*/ 1989739 w 2657608"/>
                <a:gd name="connsiteY17" fmla="*/ 505984 h 2710967"/>
                <a:gd name="connsiteX18" fmla="*/ 1488694 w 2657608"/>
                <a:gd name="connsiteY18" fmla="*/ 291598 h 271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57608" h="2710967">
                  <a:moveTo>
                    <a:pt x="1142185" y="2710968"/>
                  </a:moveTo>
                  <a:cubicBezTo>
                    <a:pt x="715493" y="2710968"/>
                    <a:pt x="433946" y="2438236"/>
                    <a:pt x="272868" y="2209442"/>
                  </a:cubicBezTo>
                  <a:cubicBezTo>
                    <a:pt x="93719" y="1954996"/>
                    <a:pt x="0" y="1664625"/>
                    <a:pt x="0" y="1509231"/>
                  </a:cubicBezTo>
                  <a:cubicBezTo>
                    <a:pt x="0" y="1386660"/>
                    <a:pt x="0" y="1013778"/>
                    <a:pt x="185237" y="670037"/>
                  </a:cubicBezTo>
                  <a:cubicBezTo>
                    <a:pt x="293075" y="469866"/>
                    <a:pt x="445799" y="311564"/>
                    <a:pt x="639131" y="199590"/>
                  </a:cubicBezTo>
                  <a:cubicBezTo>
                    <a:pt x="867698" y="67133"/>
                    <a:pt x="1153519" y="0"/>
                    <a:pt x="1488629" y="0"/>
                  </a:cubicBezTo>
                  <a:cubicBezTo>
                    <a:pt x="2111827" y="0"/>
                    <a:pt x="2417791" y="577188"/>
                    <a:pt x="2430486" y="601741"/>
                  </a:cubicBezTo>
                  <a:lnTo>
                    <a:pt x="2432364" y="605488"/>
                  </a:lnTo>
                  <a:cubicBezTo>
                    <a:pt x="2463647" y="670425"/>
                    <a:pt x="2735220" y="1249939"/>
                    <a:pt x="2635865" y="1590966"/>
                  </a:cubicBezTo>
                  <a:cubicBezTo>
                    <a:pt x="2578934" y="1786420"/>
                    <a:pt x="2377765" y="2062512"/>
                    <a:pt x="2135338" y="2278061"/>
                  </a:cubicBezTo>
                  <a:cubicBezTo>
                    <a:pt x="1913184" y="2475583"/>
                    <a:pt x="1560586" y="2710968"/>
                    <a:pt x="1142185" y="2710968"/>
                  </a:cubicBezTo>
                  <a:close/>
                  <a:moveTo>
                    <a:pt x="1488629" y="291598"/>
                  </a:moveTo>
                  <a:cubicBezTo>
                    <a:pt x="499880" y="291598"/>
                    <a:pt x="292298" y="953753"/>
                    <a:pt x="292298" y="1509231"/>
                  </a:cubicBezTo>
                  <a:cubicBezTo>
                    <a:pt x="292298" y="1586120"/>
                    <a:pt x="356742" y="1821247"/>
                    <a:pt x="512056" y="2041771"/>
                  </a:cubicBezTo>
                  <a:cubicBezTo>
                    <a:pt x="633302" y="2213965"/>
                    <a:pt x="841078" y="2419305"/>
                    <a:pt x="1142185" y="2419305"/>
                  </a:cubicBezTo>
                  <a:cubicBezTo>
                    <a:pt x="1753919" y="2419305"/>
                    <a:pt x="2289162" y="1736022"/>
                    <a:pt x="2355161" y="1509554"/>
                  </a:cubicBezTo>
                  <a:cubicBezTo>
                    <a:pt x="2406522" y="1333354"/>
                    <a:pt x="2269408" y="941799"/>
                    <a:pt x="2170118" y="734327"/>
                  </a:cubicBezTo>
                  <a:cubicBezTo>
                    <a:pt x="2163188" y="721663"/>
                    <a:pt x="2101788" y="612337"/>
                    <a:pt x="1989739" y="505984"/>
                  </a:cubicBezTo>
                  <a:cubicBezTo>
                    <a:pt x="1839801" y="363771"/>
                    <a:pt x="1671210" y="291598"/>
                    <a:pt x="1488694" y="291598"/>
                  </a:cubicBezTo>
                  <a:close/>
                </a:path>
              </a:pathLst>
            </a:custGeom>
            <a:solidFill>
              <a:schemeClr val="bg1">
                <a:alpha val="3000"/>
              </a:schemeClr>
            </a:solidFill>
            <a:ln w="6458" cap="flat">
              <a:noFill/>
              <a:prstDash val="solid"/>
              <a:miter/>
            </a:ln>
          </p:spPr>
          <p:txBody>
            <a:bodyPr rtlCol="0" anchor="ctr"/>
            <a:lstStyle/>
            <a:p>
              <a:endParaRPr lang="en-AU"/>
            </a:p>
          </p:txBody>
        </p:sp>
      </p:grpSp>
      <p:sp>
        <p:nvSpPr>
          <p:cNvPr id="46" name="TextBox 45">
            <a:extLst>
              <a:ext uri="{FF2B5EF4-FFF2-40B4-BE49-F238E27FC236}">
                <a16:creationId xmlns:a16="http://schemas.microsoft.com/office/drawing/2014/main" id="{40C13209-3ADF-645E-78C4-842F58277354}"/>
              </a:ext>
            </a:extLst>
          </p:cNvPr>
          <p:cNvSpPr txBox="1"/>
          <p:nvPr/>
        </p:nvSpPr>
        <p:spPr>
          <a:xfrm rot="21571504">
            <a:off x="1489863" y="347184"/>
            <a:ext cx="1418934" cy="400110"/>
          </a:xfrm>
          <a:prstGeom prst="rect">
            <a:avLst/>
          </a:prstGeom>
          <a:solidFill>
            <a:srgbClr val="FFFFFF">
              <a:alpha val="0"/>
            </a:srgbClr>
          </a:solidFill>
        </p:spPr>
        <p:txBody>
          <a:bodyPr wrap="square" lIns="0" rIns="0">
            <a:spAutoFit/>
          </a:bodyPr>
          <a:lstStyle/>
          <a:p>
            <a:pPr algn="ctr">
              <a:spcAft>
                <a:spcPts val="806"/>
              </a:spcAft>
              <a:buSzPts val="800"/>
            </a:pPr>
            <a:r>
              <a:rPr lang="en-AU" sz="1000">
                <a:solidFill>
                  <a:schemeClr val="bg1">
                    <a:lumMod val="100000"/>
                  </a:schemeClr>
                </a:solidFill>
                <a:latin typeface="+mj-lt"/>
                <a:ea typeface="Times New Roman" panose="02020603050405020304" pitchFamily="18" charset="0"/>
                <a:cs typeface="Times New Roman" panose="02020603050405020304" pitchFamily="18" charset="0"/>
              </a:rPr>
              <a:t>Total committed program funding:</a:t>
            </a:r>
          </a:p>
        </p:txBody>
      </p:sp>
      <p:sp>
        <p:nvSpPr>
          <p:cNvPr id="47" name="TextBox 46">
            <a:extLst>
              <a:ext uri="{FF2B5EF4-FFF2-40B4-BE49-F238E27FC236}">
                <a16:creationId xmlns:a16="http://schemas.microsoft.com/office/drawing/2014/main" id="{6FC66472-DAB6-72A6-6EE8-8D646804FD02}"/>
              </a:ext>
            </a:extLst>
          </p:cNvPr>
          <p:cNvSpPr txBox="1"/>
          <p:nvPr/>
        </p:nvSpPr>
        <p:spPr>
          <a:xfrm rot="21571504">
            <a:off x="1495589" y="702691"/>
            <a:ext cx="1436298" cy="461665"/>
          </a:xfrm>
          <a:prstGeom prst="rect">
            <a:avLst/>
          </a:prstGeom>
          <a:solidFill>
            <a:srgbClr val="FFFFFF">
              <a:alpha val="0"/>
            </a:srgbClr>
          </a:solidFill>
        </p:spPr>
        <p:txBody>
          <a:bodyPr wrap="square" lIns="0" rIns="0">
            <a:spAutoFit/>
          </a:bodyPr>
          <a:lstStyle/>
          <a:p>
            <a:pPr algn="ctr"/>
            <a:r>
              <a:rPr lang="en-AU" sz="2400" b="1" spc="-100">
                <a:solidFill>
                  <a:srgbClr val="F6522C"/>
                </a:solidFill>
                <a:latin typeface="Segoe Print" panose="02000600000000000000" pitchFamily="2" charset="0"/>
              </a:rPr>
              <a:t>$54.3m</a:t>
            </a:r>
          </a:p>
        </p:txBody>
      </p:sp>
      <p:sp>
        <p:nvSpPr>
          <p:cNvPr id="48" name="TextBox 47">
            <a:extLst>
              <a:ext uri="{FF2B5EF4-FFF2-40B4-BE49-F238E27FC236}">
                <a16:creationId xmlns:a16="http://schemas.microsoft.com/office/drawing/2014/main" id="{5BCD9979-0C1D-7267-09F9-7531F2320518}"/>
              </a:ext>
            </a:extLst>
          </p:cNvPr>
          <p:cNvSpPr txBox="1"/>
          <p:nvPr/>
        </p:nvSpPr>
        <p:spPr>
          <a:xfrm rot="21571504">
            <a:off x="1563212" y="1101090"/>
            <a:ext cx="1418934" cy="430887"/>
          </a:xfrm>
          <a:prstGeom prst="rect">
            <a:avLst/>
          </a:prstGeom>
          <a:solidFill>
            <a:srgbClr val="FFFFFF">
              <a:alpha val="0"/>
            </a:srgbClr>
          </a:solidFill>
        </p:spPr>
        <p:txBody>
          <a:bodyPr wrap="square" lIns="0" rIns="0">
            <a:spAutoFit/>
          </a:bodyPr>
          <a:lstStyle/>
          <a:p>
            <a:pPr algn="ctr">
              <a:spcAft>
                <a:spcPts val="806"/>
              </a:spcAft>
              <a:buSzPts val="800"/>
            </a:pPr>
            <a:r>
              <a:rPr lang="en-AU" sz="1050">
                <a:solidFill>
                  <a:schemeClr val="bg1">
                    <a:lumMod val="100000"/>
                  </a:schemeClr>
                </a:solidFill>
                <a:latin typeface="+mj-lt"/>
                <a:ea typeface="Times New Roman" panose="02020603050405020304" pitchFamily="18" charset="0"/>
                <a:cs typeface="Times New Roman" panose="02020603050405020304" pitchFamily="18" charset="0"/>
              </a:rPr>
              <a:t>between July 2018 and January 2026</a:t>
            </a:r>
          </a:p>
        </p:txBody>
      </p:sp>
      <p:sp>
        <p:nvSpPr>
          <p:cNvPr id="39" name="TextBox 38">
            <a:extLst>
              <a:ext uri="{FF2B5EF4-FFF2-40B4-BE49-F238E27FC236}">
                <a16:creationId xmlns:a16="http://schemas.microsoft.com/office/drawing/2014/main" id="{39A38E8C-69BC-F928-2EBC-D20FEEB4CD48}"/>
              </a:ext>
            </a:extLst>
          </p:cNvPr>
          <p:cNvSpPr txBox="1"/>
          <p:nvPr/>
        </p:nvSpPr>
        <p:spPr>
          <a:xfrm rot="4900">
            <a:off x="251304" y="2278017"/>
            <a:ext cx="1322356" cy="413126"/>
          </a:xfrm>
          <a:prstGeom prst="rect">
            <a:avLst/>
          </a:prstGeom>
          <a:noFill/>
        </p:spPr>
        <p:txBody>
          <a:bodyPr wrap="square" lIns="0" rIns="0">
            <a:spAutoFit/>
          </a:bodyPr>
          <a:lstStyle/>
          <a:p>
            <a:pPr algn="ctr">
              <a:lnSpc>
                <a:spcPts val="1300"/>
              </a:lnSpc>
              <a:spcAft>
                <a:spcPts val="806"/>
              </a:spcAft>
              <a:buSzPts val="800"/>
            </a:pPr>
            <a:r>
              <a:rPr lang="en-AU" sz="1000" dirty="0">
                <a:solidFill>
                  <a:schemeClr val="bg1">
                    <a:lumMod val="100000"/>
                  </a:schemeClr>
                </a:solidFill>
                <a:latin typeface="+mj-lt"/>
                <a:ea typeface="Times New Roman" panose="02020603050405020304" pitchFamily="18" charset="0"/>
                <a:cs typeface="Times New Roman" panose="02020603050405020304" pitchFamily="18" charset="0"/>
              </a:rPr>
              <a:t>Which has supported the establishment of</a:t>
            </a:r>
          </a:p>
        </p:txBody>
      </p:sp>
      <p:sp>
        <p:nvSpPr>
          <p:cNvPr id="40" name="TextBox 39">
            <a:extLst>
              <a:ext uri="{FF2B5EF4-FFF2-40B4-BE49-F238E27FC236}">
                <a16:creationId xmlns:a16="http://schemas.microsoft.com/office/drawing/2014/main" id="{4C83722A-CC35-EB20-5244-5B20BAD2CA3F}"/>
              </a:ext>
            </a:extLst>
          </p:cNvPr>
          <p:cNvSpPr txBox="1"/>
          <p:nvPr/>
        </p:nvSpPr>
        <p:spPr>
          <a:xfrm rot="4900">
            <a:off x="294833" y="2659985"/>
            <a:ext cx="1220817" cy="430887"/>
          </a:xfrm>
          <a:prstGeom prst="rect">
            <a:avLst/>
          </a:prstGeom>
          <a:noFill/>
        </p:spPr>
        <p:txBody>
          <a:bodyPr wrap="square" lIns="0" rIns="0">
            <a:spAutoFit/>
          </a:bodyPr>
          <a:lstStyle/>
          <a:p>
            <a:pPr algn="ctr"/>
            <a:r>
              <a:rPr lang="en-AU" sz="2200" b="1" spc="-100" dirty="0">
                <a:solidFill>
                  <a:srgbClr val="F36C20"/>
                </a:solidFill>
                <a:latin typeface="Segoe Print" panose="02000600000000000000" pitchFamily="2" charset="0"/>
              </a:rPr>
              <a:t>4 HUBS</a:t>
            </a:r>
          </a:p>
        </p:txBody>
      </p:sp>
      <p:sp>
        <p:nvSpPr>
          <p:cNvPr id="36" name="TextBox 35">
            <a:extLst>
              <a:ext uri="{FF2B5EF4-FFF2-40B4-BE49-F238E27FC236}">
                <a16:creationId xmlns:a16="http://schemas.microsoft.com/office/drawing/2014/main" id="{8705C43F-F57D-ECEA-3F2A-1C799D69BFE8}"/>
              </a:ext>
            </a:extLst>
          </p:cNvPr>
          <p:cNvSpPr txBox="1"/>
          <p:nvPr/>
        </p:nvSpPr>
        <p:spPr>
          <a:xfrm rot="21561794">
            <a:off x="1648850" y="3773527"/>
            <a:ext cx="1513803" cy="246220"/>
          </a:xfrm>
          <a:prstGeom prst="rect">
            <a:avLst/>
          </a:prstGeom>
          <a:noFill/>
        </p:spPr>
        <p:txBody>
          <a:bodyPr wrap="square" lIns="0" rIns="0">
            <a:spAutoFit/>
          </a:bodyPr>
          <a:lstStyle/>
          <a:p>
            <a:pPr algn="ctr">
              <a:spcAft>
                <a:spcPts val="806"/>
              </a:spcAft>
              <a:buSzPts val="800"/>
            </a:pPr>
            <a:r>
              <a:rPr lang="en-AU" sz="1000">
                <a:solidFill>
                  <a:schemeClr val="bg1">
                    <a:lumMod val="100000"/>
                  </a:schemeClr>
                </a:solidFill>
                <a:latin typeface="+mj-lt"/>
                <a:ea typeface="Times New Roman" panose="02020603050405020304" pitchFamily="18" charset="0"/>
                <a:cs typeface="Times New Roman" panose="02020603050405020304" pitchFamily="18" charset="0"/>
              </a:rPr>
              <a:t>Operated by</a:t>
            </a:r>
          </a:p>
        </p:txBody>
      </p:sp>
      <p:sp>
        <p:nvSpPr>
          <p:cNvPr id="37" name="TextBox 36">
            <a:extLst>
              <a:ext uri="{FF2B5EF4-FFF2-40B4-BE49-F238E27FC236}">
                <a16:creationId xmlns:a16="http://schemas.microsoft.com/office/drawing/2014/main" id="{9C9375A2-222F-730B-BFA6-F2A0FB9DE902}"/>
              </a:ext>
            </a:extLst>
          </p:cNvPr>
          <p:cNvSpPr txBox="1"/>
          <p:nvPr/>
        </p:nvSpPr>
        <p:spPr>
          <a:xfrm rot="21561794">
            <a:off x="1639587" y="3993305"/>
            <a:ext cx="1532328" cy="768159"/>
          </a:xfrm>
          <a:prstGeom prst="rect">
            <a:avLst/>
          </a:prstGeom>
          <a:noFill/>
        </p:spPr>
        <p:txBody>
          <a:bodyPr wrap="square" lIns="0" rIns="0">
            <a:spAutoFit/>
          </a:bodyPr>
          <a:lstStyle/>
          <a:p>
            <a:pPr algn="ctr">
              <a:lnSpc>
                <a:spcPts val="2600"/>
              </a:lnSpc>
            </a:pPr>
            <a:r>
              <a:rPr lang="en-AU" sz="2200" b="1">
                <a:solidFill>
                  <a:srgbClr val="F9A423"/>
                </a:solidFill>
                <a:latin typeface="Segoe Print" panose="02000600000000000000" pitchFamily="2" charset="0"/>
              </a:rPr>
              <a:t>40 staff members,</a:t>
            </a:r>
          </a:p>
        </p:txBody>
      </p:sp>
      <p:sp>
        <p:nvSpPr>
          <p:cNvPr id="38" name="TextBox 37">
            <a:extLst>
              <a:ext uri="{FF2B5EF4-FFF2-40B4-BE49-F238E27FC236}">
                <a16:creationId xmlns:a16="http://schemas.microsoft.com/office/drawing/2014/main" id="{6532C620-E2C1-14D7-3825-4BC9C11BF659}"/>
              </a:ext>
            </a:extLst>
          </p:cNvPr>
          <p:cNvSpPr txBox="1"/>
          <p:nvPr/>
        </p:nvSpPr>
        <p:spPr>
          <a:xfrm rot="21561794">
            <a:off x="1459839" y="4668677"/>
            <a:ext cx="1891825" cy="253916"/>
          </a:xfrm>
          <a:prstGeom prst="rect">
            <a:avLst/>
          </a:prstGeom>
          <a:noFill/>
        </p:spPr>
        <p:txBody>
          <a:bodyPr wrap="square" lIns="0" rIns="0">
            <a:spAutoFit/>
          </a:bodyPr>
          <a:lstStyle/>
          <a:p>
            <a:pPr algn="ctr">
              <a:spcAft>
                <a:spcPts val="806"/>
              </a:spcAft>
              <a:buSzPts val="800"/>
            </a:pPr>
            <a:r>
              <a:rPr lang="en-AU" sz="1050">
                <a:solidFill>
                  <a:schemeClr val="bg1">
                    <a:lumMod val="100000"/>
                  </a:schemeClr>
                </a:solidFill>
                <a:latin typeface="+mj-lt"/>
                <a:ea typeface="Times New Roman" panose="02020603050405020304" pitchFamily="18" charset="0"/>
                <a:cs typeface="Times New Roman" panose="02020603050405020304" pitchFamily="18" charset="0"/>
              </a:rPr>
              <a:t>78% First Nations</a:t>
            </a:r>
          </a:p>
        </p:txBody>
      </p:sp>
      <p:sp>
        <p:nvSpPr>
          <p:cNvPr id="41" name="Freeform: Shape 40">
            <a:extLst>
              <a:ext uri="{FF2B5EF4-FFF2-40B4-BE49-F238E27FC236}">
                <a16:creationId xmlns:a16="http://schemas.microsoft.com/office/drawing/2014/main" id="{C4ADD39F-4EEA-E97C-6A0D-A480A4B692CB}"/>
              </a:ext>
              <a:ext uri="{C183D7F6-B498-43B3-948B-1728B52AA6E4}">
                <adec:decorative xmlns:adec="http://schemas.microsoft.com/office/drawing/2017/decorative" val="1"/>
              </a:ext>
            </a:extLst>
          </p:cNvPr>
          <p:cNvSpPr/>
          <p:nvPr/>
        </p:nvSpPr>
        <p:spPr>
          <a:xfrm rot="15047198">
            <a:off x="288769" y="5670120"/>
            <a:ext cx="1565168" cy="1527690"/>
          </a:xfrm>
          <a:custGeom>
            <a:avLst/>
            <a:gdLst>
              <a:gd name="connsiteX0" fmla="*/ 1292029 w 1440119"/>
              <a:gd name="connsiteY0" fmla="*/ 1234488 h 1405635"/>
              <a:gd name="connsiteX1" fmla="*/ 782319 w 1440119"/>
              <a:gd name="connsiteY1" fmla="*/ 1405636 h 1405635"/>
              <a:gd name="connsiteX2" fmla="*/ 0 w 1440119"/>
              <a:gd name="connsiteY2" fmla="*/ 655603 h 1405635"/>
              <a:gd name="connsiteX3" fmla="*/ 724714 w 1440119"/>
              <a:gd name="connsiteY3" fmla="*/ 0 h 1405635"/>
              <a:gd name="connsiteX4" fmla="*/ 1260914 w 1440119"/>
              <a:gd name="connsiteY4" fmla="*/ 201505 h 1405635"/>
              <a:gd name="connsiteX5" fmla="*/ 1438581 w 1440119"/>
              <a:gd name="connsiteY5" fmla="*/ 658792 h 1405635"/>
              <a:gd name="connsiteX6" fmla="*/ 1439210 w 1440119"/>
              <a:gd name="connsiteY6" fmla="*/ 730270 h 1405635"/>
              <a:gd name="connsiteX7" fmla="*/ 1292029 w 1440119"/>
              <a:gd name="connsiteY7" fmla="*/ 1234488 h 140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0119" h="1405635">
                <a:moveTo>
                  <a:pt x="1292029" y="1234488"/>
                </a:moveTo>
                <a:cubicBezTo>
                  <a:pt x="1178874" y="1349536"/>
                  <a:pt x="1012225" y="1405636"/>
                  <a:pt x="782319" y="1405636"/>
                </a:cubicBezTo>
                <a:cubicBezTo>
                  <a:pt x="285170" y="1405636"/>
                  <a:pt x="0" y="1132312"/>
                  <a:pt x="0" y="655603"/>
                </a:cubicBezTo>
                <a:cubicBezTo>
                  <a:pt x="0" y="275773"/>
                  <a:pt x="304752" y="0"/>
                  <a:pt x="724714" y="0"/>
                </a:cubicBezTo>
                <a:cubicBezTo>
                  <a:pt x="944801" y="0"/>
                  <a:pt x="1130118" y="69655"/>
                  <a:pt x="1260914" y="201505"/>
                </a:cubicBezTo>
                <a:cubicBezTo>
                  <a:pt x="1379150" y="320824"/>
                  <a:pt x="1440580" y="478987"/>
                  <a:pt x="1438581" y="658792"/>
                </a:cubicBezTo>
                <a:cubicBezTo>
                  <a:pt x="1438296" y="681232"/>
                  <a:pt x="1438753" y="705096"/>
                  <a:pt x="1439210" y="730270"/>
                </a:cubicBezTo>
                <a:cubicBezTo>
                  <a:pt x="1442293" y="876814"/>
                  <a:pt x="1446232" y="1077407"/>
                  <a:pt x="1292029" y="1234488"/>
                </a:cubicBezTo>
                <a:close/>
              </a:path>
            </a:pathLst>
          </a:custGeom>
          <a:solidFill>
            <a:schemeClr val="bg1">
              <a:alpha val="3000"/>
            </a:schemeClr>
          </a:solidFill>
          <a:ln w="5692"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7780A23A-FD44-D0C1-AA32-2ED13DE60740}"/>
              </a:ext>
              <a:ext uri="{C183D7F6-B498-43B3-948B-1728B52AA6E4}">
                <adec:decorative xmlns:adec="http://schemas.microsoft.com/office/drawing/2017/decorative" val="1"/>
              </a:ext>
            </a:extLst>
          </p:cNvPr>
          <p:cNvSpPr/>
          <p:nvPr/>
        </p:nvSpPr>
        <p:spPr>
          <a:xfrm rot="15047198">
            <a:off x="-72105" y="5201064"/>
            <a:ext cx="2342602" cy="2389638"/>
          </a:xfrm>
          <a:custGeom>
            <a:avLst/>
            <a:gdLst>
              <a:gd name="connsiteX0" fmla="*/ 1006802 w 2342602"/>
              <a:gd name="connsiteY0" fmla="*/ 2389638 h 2389638"/>
              <a:gd name="connsiteX1" fmla="*/ 240525 w 2342602"/>
              <a:gd name="connsiteY1" fmla="*/ 1947558 h 2389638"/>
              <a:gd name="connsiteX2" fmla="*/ 0 w 2342602"/>
              <a:gd name="connsiteY2" fmla="*/ 1330342 h 2389638"/>
              <a:gd name="connsiteX3" fmla="*/ 163281 w 2342602"/>
              <a:gd name="connsiteY3" fmla="*/ 590618 h 2389638"/>
              <a:gd name="connsiteX4" fmla="*/ 563375 w 2342602"/>
              <a:gd name="connsiteY4" fmla="*/ 175932 h 2389638"/>
              <a:gd name="connsiteX5" fmla="*/ 1312182 w 2342602"/>
              <a:gd name="connsiteY5" fmla="*/ 0 h 2389638"/>
              <a:gd name="connsiteX6" fmla="*/ 2142401 w 2342602"/>
              <a:gd name="connsiteY6" fmla="*/ 530417 h 2389638"/>
              <a:gd name="connsiteX7" fmla="*/ 2144056 w 2342602"/>
              <a:gd name="connsiteY7" fmla="*/ 533720 h 2389638"/>
              <a:gd name="connsiteX8" fmla="*/ 2323437 w 2342602"/>
              <a:gd name="connsiteY8" fmla="*/ 1402390 h 2389638"/>
              <a:gd name="connsiteX9" fmla="*/ 1882236 w 2342602"/>
              <a:gd name="connsiteY9" fmla="*/ 2008043 h 2389638"/>
              <a:gd name="connsiteX10" fmla="*/ 1006802 w 2342602"/>
              <a:gd name="connsiteY10" fmla="*/ 2389638 h 2389638"/>
              <a:gd name="connsiteX11" fmla="*/ 1312182 w 2342602"/>
              <a:gd name="connsiteY11" fmla="*/ 257035 h 2389638"/>
              <a:gd name="connsiteX12" fmla="*/ 257652 w 2342602"/>
              <a:gd name="connsiteY12" fmla="*/ 1330342 h 2389638"/>
              <a:gd name="connsiteX13" fmla="*/ 451362 w 2342602"/>
              <a:gd name="connsiteY13" fmla="*/ 1799761 h 2389638"/>
              <a:gd name="connsiteX14" fmla="*/ 1006802 w 2342602"/>
              <a:gd name="connsiteY14" fmla="*/ 2132546 h 2389638"/>
              <a:gd name="connsiteX15" fmla="*/ 2076004 w 2342602"/>
              <a:gd name="connsiteY15" fmla="*/ 1330627 h 2389638"/>
              <a:gd name="connsiteX16" fmla="*/ 1912894 w 2342602"/>
              <a:gd name="connsiteY16" fmla="*/ 647287 h 2389638"/>
              <a:gd name="connsiteX17" fmla="*/ 1753896 w 2342602"/>
              <a:gd name="connsiteY17" fmla="*/ 446010 h 2389638"/>
              <a:gd name="connsiteX18" fmla="*/ 1312239 w 2342602"/>
              <a:gd name="connsiteY18" fmla="*/ 257035 h 238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42602" h="2389638">
                <a:moveTo>
                  <a:pt x="1006802" y="2389638"/>
                </a:moveTo>
                <a:cubicBezTo>
                  <a:pt x="630685" y="2389638"/>
                  <a:pt x="382510" y="2149233"/>
                  <a:pt x="240525" y="1947558"/>
                </a:cubicBezTo>
                <a:cubicBezTo>
                  <a:pt x="82611" y="1723271"/>
                  <a:pt x="0" y="1467318"/>
                  <a:pt x="0" y="1330342"/>
                </a:cubicBezTo>
                <a:cubicBezTo>
                  <a:pt x="0" y="1222300"/>
                  <a:pt x="0" y="893615"/>
                  <a:pt x="163281" y="590618"/>
                </a:cubicBezTo>
                <a:cubicBezTo>
                  <a:pt x="258337" y="414173"/>
                  <a:pt x="392958" y="274634"/>
                  <a:pt x="563375" y="175932"/>
                </a:cubicBezTo>
                <a:cubicBezTo>
                  <a:pt x="764849" y="59176"/>
                  <a:pt x="1016793" y="0"/>
                  <a:pt x="1312182" y="0"/>
                </a:cubicBezTo>
                <a:cubicBezTo>
                  <a:pt x="1861512" y="0"/>
                  <a:pt x="2131211" y="508774"/>
                  <a:pt x="2142401" y="530417"/>
                </a:cubicBezTo>
                <a:lnTo>
                  <a:pt x="2144056" y="533720"/>
                </a:lnTo>
                <a:cubicBezTo>
                  <a:pt x="2171631" y="590959"/>
                  <a:pt x="2411014" y="1101784"/>
                  <a:pt x="2323437" y="1402390"/>
                </a:cubicBezTo>
                <a:cubicBezTo>
                  <a:pt x="2273253" y="1574677"/>
                  <a:pt x="2095928" y="1818043"/>
                  <a:pt x="1882236" y="2008043"/>
                </a:cubicBezTo>
                <a:cubicBezTo>
                  <a:pt x="1686414" y="2182153"/>
                  <a:pt x="1375610" y="2389638"/>
                  <a:pt x="1006802" y="2389638"/>
                </a:cubicBezTo>
                <a:close/>
                <a:moveTo>
                  <a:pt x="1312182" y="257035"/>
                </a:moveTo>
                <a:cubicBezTo>
                  <a:pt x="440629" y="257035"/>
                  <a:pt x="257652" y="840705"/>
                  <a:pt x="257652" y="1330342"/>
                </a:cubicBezTo>
                <a:cubicBezTo>
                  <a:pt x="257652" y="1398118"/>
                  <a:pt x="314458" y="1605375"/>
                  <a:pt x="451362" y="1799761"/>
                </a:cubicBezTo>
                <a:cubicBezTo>
                  <a:pt x="558237" y="1951544"/>
                  <a:pt x="741385" y="2132546"/>
                  <a:pt x="1006802" y="2132546"/>
                </a:cubicBezTo>
                <a:cubicBezTo>
                  <a:pt x="1546027" y="2132546"/>
                  <a:pt x="2017828" y="1530252"/>
                  <a:pt x="2076004" y="1330627"/>
                </a:cubicBezTo>
                <a:cubicBezTo>
                  <a:pt x="2121277" y="1175312"/>
                  <a:pt x="2000415" y="830168"/>
                  <a:pt x="1912894" y="647287"/>
                </a:cubicBezTo>
                <a:cubicBezTo>
                  <a:pt x="1906786" y="636124"/>
                  <a:pt x="1852663" y="539757"/>
                  <a:pt x="1753896" y="446010"/>
                </a:cubicBezTo>
                <a:cubicBezTo>
                  <a:pt x="1621730" y="320654"/>
                  <a:pt x="1473122" y="257035"/>
                  <a:pt x="1312239" y="257035"/>
                </a:cubicBezTo>
                <a:close/>
              </a:path>
            </a:pathLst>
          </a:custGeom>
          <a:solidFill>
            <a:schemeClr val="bg1">
              <a:alpha val="3000"/>
            </a:schemeClr>
          </a:solidFill>
          <a:ln w="5692" cap="flat">
            <a:noFill/>
            <a:prstDash val="solid"/>
            <a:miter/>
          </a:ln>
        </p:spPr>
        <p:txBody>
          <a:bodyPr rtlCol="0" anchor="ctr"/>
          <a:lstStyle/>
          <a:p>
            <a:endParaRPr lang="en-AU"/>
          </a:p>
        </p:txBody>
      </p:sp>
      <p:sp>
        <p:nvSpPr>
          <p:cNvPr id="43" name="TextBox 42">
            <a:extLst>
              <a:ext uri="{FF2B5EF4-FFF2-40B4-BE49-F238E27FC236}">
                <a16:creationId xmlns:a16="http://schemas.microsoft.com/office/drawing/2014/main" id="{6B049D40-0067-32C4-C74C-89490B4CA9C3}"/>
              </a:ext>
            </a:extLst>
          </p:cNvPr>
          <p:cNvSpPr txBox="1"/>
          <p:nvPr/>
        </p:nvSpPr>
        <p:spPr>
          <a:xfrm rot="21545573">
            <a:off x="464572" y="5946730"/>
            <a:ext cx="1190150" cy="400110"/>
          </a:xfrm>
          <a:prstGeom prst="rect">
            <a:avLst/>
          </a:prstGeom>
          <a:noFill/>
        </p:spPr>
        <p:txBody>
          <a:bodyPr wrap="square" lIns="0" rIns="0">
            <a:spAutoFit/>
          </a:bodyPr>
          <a:lstStyle/>
          <a:p>
            <a:pPr algn="ctr">
              <a:spcAft>
                <a:spcPts val="806"/>
              </a:spcAft>
              <a:buSzPts val="800"/>
            </a:pPr>
            <a:r>
              <a:rPr lang="en-AU" sz="1000">
                <a:solidFill>
                  <a:schemeClr val="bg1">
                    <a:lumMod val="100000"/>
                  </a:schemeClr>
                </a:solidFill>
                <a:latin typeface="+mj-lt"/>
                <a:ea typeface="Times New Roman" panose="02020603050405020304" pitchFamily="18" charset="0"/>
                <a:cs typeface="Times New Roman" panose="02020603050405020304" pitchFamily="18" charset="0"/>
              </a:rPr>
              <a:t>Who have supported</a:t>
            </a:r>
          </a:p>
        </p:txBody>
      </p:sp>
      <p:sp>
        <p:nvSpPr>
          <p:cNvPr id="44" name="TextBox 43">
            <a:extLst>
              <a:ext uri="{FF2B5EF4-FFF2-40B4-BE49-F238E27FC236}">
                <a16:creationId xmlns:a16="http://schemas.microsoft.com/office/drawing/2014/main" id="{858EFE6B-0978-F38B-F2F0-FC360CD0322D}"/>
              </a:ext>
            </a:extLst>
          </p:cNvPr>
          <p:cNvSpPr txBox="1"/>
          <p:nvPr/>
        </p:nvSpPr>
        <p:spPr>
          <a:xfrm rot="21545573">
            <a:off x="474900" y="6286554"/>
            <a:ext cx="1220817" cy="523220"/>
          </a:xfrm>
          <a:prstGeom prst="rect">
            <a:avLst/>
          </a:prstGeom>
          <a:noFill/>
        </p:spPr>
        <p:txBody>
          <a:bodyPr wrap="square" lIns="0" rIns="0">
            <a:spAutoFit/>
          </a:bodyPr>
          <a:lstStyle/>
          <a:p>
            <a:pPr algn="ctr"/>
            <a:r>
              <a:rPr lang="en-AU" sz="2800" b="1" spc="-100">
                <a:solidFill>
                  <a:srgbClr val="FAAF29"/>
                </a:solidFill>
                <a:latin typeface="Segoe Print" panose="02000600000000000000" pitchFamily="2" charset="0"/>
              </a:rPr>
              <a:t>1931</a:t>
            </a:r>
          </a:p>
        </p:txBody>
      </p:sp>
      <p:sp>
        <p:nvSpPr>
          <p:cNvPr id="45" name="TextBox 44">
            <a:extLst>
              <a:ext uri="{FF2B5EF4-FFF2-40B4-BE49-F238E27FC236}">
                <a16:creationId xmlns:a16="http://schemas.microsoft.com/office/drawing/2014/main" id="{8683A90A-E68F-CA8E-7821-4DB0FB299647}"/>
              </a:ext>
            </a:extLst>
          </p:cNvPr>
          <p:cNvSpPr txBox="1"/>
          <p:nvPr/>
        </p:nvSpPr>
        <p:spPr>
          <a:xfrm rot="21545573">
            <a:off x="515897" y="6696295"/>
            <a:ext cx="1138822" cy="246221"/>
          </a:xfrm>
          <a:prstGeom prst="rect">
            <a:avLst/>
          </a:prstGeom>
          <a:noFill/>
        </p:spPr>
        <p:txBody>
          <a:bodyPr wrap="square" lIns="0" rIns="0">
            <a:spAutoFit/>
          </a:bodyPr>
          <a:lstStyle/>
          <a:p>
            <a:pPr algn="ctr">
              <a:spcAft>
                <a:spcPts val="806"/>
              </a:spcAft>
              <a:buSzPts val="800"/>
            </a:pPr>
            <a:r>
              <a:rPr lang="en-AU" sz="1000">
                <a:solidFill>
                  <a:schemeClr val="bg1">
                    <a:lumMod val="100000"/>
                  </a:schemeClr>
                </a:solidFill>
                <a:latin typeface="+mj-lt"/>
                <a:ea typeface="Times New Roman" panose="02020603050405020304" pitchFamily="18" charset="0"/>
                <a:cs typeface="Times New Roman" panose="02020603050405020304" pitchFamily="18" charset="0"/>
              </a:rPr>
              <a:t>Hub clients</a:t>
            </a:r>
          </a:p>
        </p:txBody>
      </p:sp>
    </p:spTree>
    <p:extLst>
      <p:ext uri="{BB962C8B-B14F-4D97-AF65-F5344CB8AC3E}">
        <p14:creationId xmlns:p14="http://schemas.microsoft.com/office/powerpoint/2010/main" val="2803691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B0ECA9-2471-612D-70DB-956E00C6B167}"/>
              </a:ext>
              <a:ext uri="{C183D7F6-B498-43B3-948B-1728B52AA6E4}">
                <adec:decorative xmlns:adec="http://schemas.microsoft.com/office/drawing/2017/decorative" val="1"/>
              </a:ext>
            </a:extLst>
          </p:cNvPr>
          <p:cNvSpPr/>
          <p:nvPr/>
        </p:nvSpPr>
        <p:spPr>
          <a:xfrm>
            <a:off x="3436368" y="-1"/>
            <a:ext cx="7320803" cy="7559675"/>
          </a:xfrm>
          <a:prstGeom prst="rect">
            <a:avLst/>
          </a:prstGeom>
          <a:solidFill>
            <a:schemeClr val="accent5"/>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3" name="Group 2">
            <a:extLst>
              <a:ext uri="{FF2B5EF4-FFF2-40B4-BE49-F238E27FC236}">
                <a16:creationId xmlns:a16="http://schemas.microsoft.com/office/drawing/2014/main" id="{92830D29-8248-02B7-7D1C-0845044A1FE0}"/>
              </a:ext>
              <a:ext uri="{C183D7F6-B498-43B3-948B-1728B52AA6E4}">
                <adec:decorative xmlns:adec="http://schemas.microsoft.com/office/drawing/2017/decorative" val="1"/>
              </a:ext>
            </a:extLst>
          </p:cNvPr>
          <p:cNvGrpSpPr/>
          <p:nvPr/>
        </p:nvGrpSpPr>
        <p:grpSpPr>
          <a:xfrm>
            <a:off x="-4159" y="0"/>
            <a:ext cx="4412530" cy="7560603"/>
            <a:chOff x="-4159" y="0"/>
            <a:chExt cx="3850308" cy="7560603"/>
          </a:xfrm>
        </p:grpSpPr>
        <p:sp>
          <p:nvSpPr>
            <p:cNvPr id="4" name="Freeform: Shape 3">
              <a:extLst>
                <a:ext uri="{FF2B5EF4-FFF2-40B4-BE49-F238E27FC236}">
                  <a16:creationId xmlns:a16="http://schemas.microsoft.com/office/drawing/2014/main" id="{94D7DCFB-319B-7ABF-ED8D-E372F3EBC514}"/>
                </a:ext>
              </a:extLst>
            </p:cNvPr>
            <p:cNvSpPr/>
            <p:nvPr/>
          </p:nvSpPr>
          <p:spPr>
            <a:xfrm>
              <a:off x="168213" y="0"/>
              <a:ext cx="3677936" cy="7559675"/>
            </a:xfrm>
            <a:custGeom>
              <a:avLst/>
              <a:gdLst>
                <a:gd name="connsiteX0" fmla="*/ 0 w 4813620"/>
                <a:gd name="connsiteY0" fmla="*/ 0 h 7559675"/>
                <a:gd name="connsiteX1" fmla="*/ 4687589 w 4813620"/>
                <a:gd name="connsiteY1" fmla="*/ 0 h 7559675"/>
                <a:gd name="connsiteX2" fmla="*/ 4688793 w 4813620"/>
                <a:gd name="connsiteY2" fmla="*/ 119052 h 7559675"/>
                <a:gd name="connsiteX3" fmla="*/ 4664679 w 4813620"/>
                <a:gd name="connsiteY3" fmla="*/ 314160 h 7559675"/>
                <a:gd name="connsiteX4" fmla="*/ 4124770 w 4813620"/>
                <a:gd name="connsiteY4" fmla="*/ 1951546 h 7559675"/>
                <a:gd name="connsiteX5" fmla="*/ 4797110 w 4813620"/>
                <a:gd name="connsiteY5" fmla="*/ 4091985 h 7559675"/>
                <a:gd name="connsiteX6" fmla="*/ 4410005 w 4813620"/>
                <a:gd name="connsiteY6" fmla="*/ 6429699 h 7559675"/>
                <a:gd name="connsiteX7" fmla="*/ 4773201 w 4813620"/>
                <a:gd name="connsiteY7" fmla="*/ 7504005 h 7559675"/>
                <a:gd name="connsiteX8" fmla="*/ 4813620 w 4813620"/>
                <a:gd name="connsiteY8" fmla="*/ 7559675 h 7559675"/>
                <a:gd name="connsiteX9" fmla="*/ 0 w 4813620"/>
                <a:gd name="connsiteY9" fmla="*/ 7559675 h 7559675"/>
                <a:gd name="connsiteX10" fmla="*/ 0 w 4813620"/>
                <a:gd name="connsiteY10" fmla="*/ 0 h 755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3620" h="7559675">
                  <a:moveTo>
                    <a:pt x="0" y="0"/>
                  </a:moveTo>
                  <a:lnTo>
                    <a:pt x="4687589" y="0"/>
                  </a:lnTo>
                  <a:lnTo>
                    <a:pt x="4688793" y="119052"/>
                  </a:lnTo>
                  <a:cubicBezTo>
                    <a:pt x="4685053" y="181821"/>
                    <a:pt x="4676988" y="246963"/>
                    <a:pt x="4664679" y="314160"/>
                  </a:cubicBezTo>
                  <a:cubicBezTo>
                    <a:pt x="4566204" y="851735"/>
                    <a:pt x="4102698" y="1321909"/>
                    <a:pt x="4124770" y="1951546"/>
                  </a:cubicBezTo>
                  <a:cubicBezTo>
                    <a:pt x="4146842" y="2581184"/>
                    <a:pt x="4749570" y="3345627"/>
                    <a:pt x="4797110" y="4091985"/>
                  </a:cubicBezTo>
                  <a:cubicBezTo>
                    <a:pt x="4844649" y="4838343"/>
                    <a:pt x="4386236" y="5824721"/>
                    <a:pt x="4410005" y="6429699"/>
                  </a:cubicBezTo>
                  <a:cubicBezTo>
                    <a:pt x="4428204" y="6892885"/>
                    <a:pt x="4592702" y="7241396"/>
                    <a:pt x="4773201" y="7504005"/>
                  </a:cubicBezTo>
                  <a:lnTo>
                    <a:pt x="4813620" y="7559675"/>
                  </a:lnTo>
                  <a:lnTo>
                    <a:pt x="0" y="7559675"/>
                  </a:lnTo>
                  <a:lnTo>
                    <a:pt x="0" y="0"/>
                  </a:lnTo>
                  <a:close/>
                </a:path>
              </a:pathLst>
            </a:custGeom>
            <a:gradFill>
              <a:gsLst>
                <a:gs pos="65000">
                  <a:schemeClr val="accent1"/>
                </a:gs>
                <a:gs pos="73000">
                  <a:schemeClr val="accent2"/>
                </a:gs>
                <a:gs pos="86000">
                  <a:schemeClr val="accent3"/>
                </a:gs>
                <a:gs pos="95000">
                  <a:schemeClr val="accent4"/>
                </a:gs>
              </a:gsLst>
              <a:lin ang="600000" scaled="0"/>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100">
                <a:solidFill>
                  <a:schemeClr val="accent3"/>
                </a:solidFill>
              </a:endParaRPr>
            </a:p>
          </p:txBody>
        </p:sp>
        <p:sp>
          <p:nvSpPr>
            <p:cNvPr id="5" name="Freeform: Shape 4">
              <a:extLst>
                <a:ext uri="{FF2B5EF4-FFF2-40B4-BE49-F238E27FC236}">
                  <a16:creationId xmlns:a16="http://schemas.microsoft.com/office/drawing/2014/main" id="{31C74E5E-D74D-8BC2-2D7B-DD9E7FA3E1BB}"/>
                </a:ext>
              </a:extLst>
            </p:cNvPr>
            <p:cNvSpPr/>
            <p:nvPr/>
          </p:nvSpPr>
          <p:spPr>
            <a:xfrm>
              <a:off x="-4159" y="0"/>
              <a:ext cx="3799438" cy="7560603"/>
            </a:xfrm>
            <a:custGeom>
              <a:avLst/>
              <a:gdLst>
                <a:gd name="connsiteX0" fmla="*/ 0 w 4024392"/>
                <a:gd name="connsiteY0" fmla="*/ 0 h 7560603"/>
                <a:gd name="connsiteX1" fmla="*/ 141900 w 4024392"/>
                <a:gd name="connsiteY1" fmla="*/ 0 h 7560603"/>
                <a:gd name="connsiteX2" fmla="*/ 141900 w 4024392"/>
                <a:gd name="connsiteY2" fmla="*/ 928 h 7560603"/>
                <a:gd name="connsiteX3" fmla="*/ 3863175 w 4024392"/>
                <a:gd name="connsiteY3" fmla="*/ 928 h 7560603"/>
                <a:gd name="connsiteX4" fmla="*/ 3867585 w 4024392"/>
                <a:gd name="connsiteY4" fmla="*/ 32519 h 7560603"/>
                <a:gd name="connsiteX5" fmla="*/ 3849884 w 4024392"/>
                <a:gd name="connsiteY5" fmla="*/ 399407 h 7560603"/>
                <a:gd name="connsiteX6" fmla="*/ 3421020 w 4024392"/>
                <a:gd name="connsiteY6" fmla="*/ 1997201 h 7560603"/>
                <a:gd name="connsiteX7" fmla="*/ 3955077 w 4024392"/>
                <a:gd name="connsiteY7" fmla="*/ 4085883 h 7560603"/>
                <a:gd name="connsiteX8" fmla="*/ 3647590 w 4024392"/>
                <a:gd name="connsiteY8" fmla="*/ 6367070 h 7560603"/>
                <a:gd name="connsiteX9" fmla="*/ 3998009 w 4024392"/>
                <a:gd name="connsiteY9" fmla="*/ 7520175 h 7560603"/>
                <a:gd name="connsiteX10" fmla="*/ 4024392 w 4024392"/>
                <a:gd name="connsiteY10" fmla="*/ 7560603 h 7560603"/>
                <a:gd name="connsiteX11" fmla="*/ 31484 w 4024392"/>
                <a:gd name="connsiteY11" fmla="*/ 7560603 h 7560603"/>
                <a:gd name="connsiteX12" fmla="*/ 31484 w 4024392"/>
                <a:gd name="connsiteY12" fmla="*/ 7560139 h 7560603"/>
                <a:gd name="connsiteX13" fmla="*/ 0 w 4024392"/>
                <a:gd name="connsiteY13" fmla="*/ 7560139 h 7560603"/>
                <a:gd name="connsiteX14" fmla="*/ 0 w 4024392"/>
                <a:gd name="connsiteY14" fmla="*/ 0 h 756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24392" h="7560603">
                  <a:moveTo>
                    <a:pt x="0" y="0"/>
                  </a:moveTo>
                  <a:lnTo>
                    <a:pt x="141900" y="0"/>
                  </a:lnTo>
                  <a:lnTo>
                    <a:pt x="141900" y="928"/>
                  </a:lnTo>
                  <a:lnTo>
                    <a:pt x="3863175" y="928"/>
                  </a:lnTo>
                  <a:lnTo>
                    <a:pt x="3867585" y="32519"/>
                  </a:lnTo>
                  <a:cubicBezTo>
                    <a:pt x="3875509" y="145140"/>
                    <a:pt x="3869439" y="268263"/>
                    <a:pt x="3849884" y="399407"/>
                  </a:cubicBezTo>
                  <a:cubicBezTo>
                    <a:pt x="3771663" y="923983"/>
                    <a:pt x="3403488" y="1382788"/>
                    <a:pt x="3421020" y="1997201"/>
                  </a:cubicBezTo>
                  <a:cubicBezTo>
                    <a:pt x="3438553" y="2611614"/>
                    <a:pt x="3917316" y="3357572"/>
                    <a:pt x="3955077" y="4085883"/>
                  </a:cubicBezTo>
                  <a:cubicBezTo>
                    <a:pt x="3992839" y="4814194"/>
                    <a:pt x="3628709" y="5776721"/>
                    <a:pt x="3647590" y="6367070"/>
                  </a:cubicBezTo>
                  <a:cubicBezTo>
                    <a:pt x="3664111" y="6883625"/>
                    <a:pt x="3832415" y="7254023"/>
                    <a:pt x="3998009" y="7520175"/>
                  </a:cubicBezTo>
                  <a:lnTo>
                    <a:pt x="4024392" y="7560603"/>
                  </a:lnTo>
                  <a:lnTo>
                    <a:pt x="31484" y="7560603"/>
                  </a:lnTo>
                  <a:lnTo>
                    <a:pt x="31484" y="7560139"/>
                  </a:lnTo>
                  <a:lnTo>
                    <a:pt x="0" y="7560139"/>
                  </a:lnTo>
                  <a:lnTo>
                    <a:pt x="0" y="0"/>
                  </a:lnTo>
                  <a:close/>
                </a:path>
              </a:pathLst>
            </a:custGeom>
            <a:solidFill>
              <a:schemeClr val="bg2"/>
            </a:solid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100" err="1">
                <a:solidFill>
                  <a:schemeClr val="bg2"/>
                </a:solidFill>
              </a:endParaRPr>
            </a:p>
          </p:txBody>
        </p:sp>
      </p:grpSp>
      <p:pic>
        <p:nvPicPr>
          <p:cNvPr id="6" name="Graphic 5">
            <a:extLst>
              <a:ext uri="{FF2B5EF4-FFF2-40B4-BE49-F238E27FC236}">
                <a16:creationId xmlns:a16="http://schemas.microsoft.com/office/drawing/2014/main" id="{0A745675-6827-0232-4F65-72B9F7FFFF3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a:blip r:embed="rId2">
            <a:alphaModFix amt="15000"/>
            <a:extLst>
              <a:ext uri="{96DAC541-7B7A-43D3-8B79-37D633B846F1}">
                <asvg:svgBlip xmlns:asvg="http://schemas.microsoft.com/office/drawing/2016/SVG/main" r:embed="rId3"/>
              </a:ext>
            </a:extLst>
          </a:blip>
          <a:stretch>
            <a:fillRect/>
          </a:stretch>
        </p:blipFill>
        <p:spPr>
          <a:xfrm>
            <a:off x="7576009" y="0"/>
            <a:ext cx="3110332" cy="7559675"/>
          </a:xfrm>
          <a:prstGeom prst="rect">
            <a:avLst/>
          </a:prstGeom>
        </p:spPr>
      </p:pic>
      <p:sp>
        <p:nvSpPr>
          <p:cNvPr id="22" name="TextBox 21">
            <a:extLst>
              <a:ext uri="{FF2B5EF4-FFF2-40B4-BE49-F238E27FC236}">
                <a16:creationId xmlns:a16="http://schemas.microsoft.com/office/drawing/2014/main" id="{5A4842FA-59F3-F2AC-9C58-1D098C6C8E1D}"/>
              </a:ext>
            </a:extLst>
          </p:cNvPr>
          <p:cNvSpPr txBox="1"/>
          <p:nvPr/>
        </p:nvSpPr>
        <p:spPr>
          <a:xfrm>
            <a:off x="342570" y="304718"/>
            <a:ext cx="3330507" cy="838306"/>
          </a:xfrm>
          <a:prstGeom prst="rect">
            <a:avLst/>
          </a:prstGeom>
          <a:noFill/>
        </p:spPr>
        <p:txBody>
          <a:bodyPr wrap="square" lIns="0" rIns="0">
            <a:spAutoFit/>
          </a:bodyPr>
          <a:lstStyle/>
          <a:p>
            <a:pPr>
              <a:lnSpc>
                <a:spcPts val="2000"/>
              </a:lnSpc>
              <a:spcBef>
                <a:spcPts val="1055"/>
              </a:spcBef>
            </a:pPr>
            <a:r>
              <a:rPr lang="en-AU" sz="1400">
                <a:solidFill>
                  <a:schemeClr val="bg1"/>
                </a:solidFill>
                <a:latin typeface="+mj-lt"/>
                <a:cs typeface="Segoe UI Light" panose="020B0502040204020203" pitchFamily="34" charset="0"/>
              </a:rPr>
              <a:t>The evaluation team conducted </a:t>
            </a:r>
            <a:br>
              <a:rPr lang="en-AU" sz="1400">
                <a:solidFill>
                  <a:schemeClr val="bg1"/>
                </a:solidFill>
                <a:latin typeface="+mj-lt"/>
                <a:cs typeface="Segoe UI Light" panose="020B0502040204020203" pitchFamily="34" charset="0"/>
              </a:rPr>
            </a:br>
            <a:r>
              <a:rPr lang="en-AU" sz="1400" b="1" spc="-100">
                <a:solidFill>
                  <a:srgbClr val="F25F21"/>
                </a:solidFill>
                <a:latin typeface="Segoe Print" panose="02000600000000000000" pitchFamily="2" charset="0"/>
                <a:cs typeface="Segoe UI Light" panose="020B0502040204020203" pitchFamily="34" charset="0"/>
              </a:rPr>
              <a:t>115</a:t>
            </a:r>
            <a:r>
              <a:rPr lang="en-AU" sz="1400" b="1">
                <a:solidFill>
                  <a:schemeClr val="bg1"/>
                </a:solidFill>
                <a:latin typeface="Segoe Print" panose="02000600000000000000" pitchFamily="2" charset="0"/>
                <a:cs typeface="Segoe UI Light" panose="020B0502040204020203" pitchFamily="34" charset="0"/>
              </a:rPr>
              <a:t> </a:t>
            </a:r>
            <a:r>
              <a:rPr lang="en-AU" sz="1400" b="1">
                <a:solidFill>
                  <a:srgbClr val="F26021"/>
                </a:solidFill>
                <a:latin typeface="Segoe Print" panose="02000600000000000000" pitchFamily="2" charset="0"/>
                <a:cs typeface="Segoe UI Light" panose="020B0502040204020203" pitchFamily="34" charset="0"/>
              </a:rPr>
              <a:t>interviews </a:t>
            </a:r>
            <a:r>
              <a:rPr lang="en-AU" sz="1400">
                <a:solidFill>
                  <a:schemeClr val="bg1"/>
                </a:solidFill>
                <a:latin typeface="+mj-lt"/>
                <a:cs typeface="Segoe UI Light" panose="020B0502040204020203" pitchFamily="34" charset="0"/>
              </a:rPr>
              <a:t>with </a:t>
            </a:r>
            <a:r>
              <a:rPr lang="en-AU" sz="1400" b="1" spc="-100">
                <a:solidFill>
                  <a:srgbClr val="F45926"/>
                </a:solidFill>
                <a:latin typeface="Segoe Print" panose="02000600000000000000" pitchFamily="2" charset="0"/>
                <a:cs typeface="Segoe UI Light" panose="020B0502040204020203" pitchFamily="34" charset="0"/>
              </a:rPr>
              <a:t>124</a:t>
            </a:r>
            <a:r>
              <a:rPr lang="en-AU" sz="1400">
                <a:solidFill>
                  <a:schemeClr val="bg1"/>
                </a:solidFill>
                <a:latin typeface="+mj-lt"/>
                <a:cs typeface="Segoe UI Light" panose="020B0502040204020203" pitchFamily="34" charset="0"/>
              </a:rPr>
              <a:t> </a:t>
            </a:r>
            <a:r>
              <a:rPr lang="en-AU" sz="1400" b="1">
                <a:solidFill>
                  <a:srgbClr val="F26021"/>
                </a:solidFill>
                <a:latin typeface="Segoe Print" panose="02000600000000000000" pitchFamily="2" charset="0"/>
                <a:cs typeface="Segoe UI Light" panose="020B0502040204020203" pitchFamily="34" charset="0"/>
              </a:rPr>
              <a:t>individuals, </a:t>
            </a:r>
            <a:r>
              <a:rPr lang="en-AU" sz="1400">
                <a:solidFill>
                  <a:schemeClr val="bg1"/>
                </a:solidFill>
                <a:latin typeface="+mj-lt"/>
                <a:cs typeface="Segoe UI Light" panose="020B0502040204020203" pitchFamily="34" charset="0"/>
              </a:rPr>
              <a:t>including: </a:t>
            </a:r>
          </a:p>
        </p:txBody>
      </p:sp>
      <p:sp>
        <p:nvSpPr>
          <p:cNvPr id="59" name="TextBox 58">
            <a:extLst>
              <a:ext uri="{FF2B5EF4-FFF2-40B4-BE49-F238E27FC236}">
                <a16:creationId xmlns:a16="http://schemas.microsoft.com/office/drawing/2014/main" id="{23A79B37-C410-19BE-0892-848E0E4AF665}"/>
              </a:ext>
            </a:extLst>
          </p:cNvPr>
          <p:cNvSpPr txBox="1"/>
          <p:nvPr/>
        </p:nvSpPr>
        <p:spPr>
          <a:xfrm>
            <a:off x="430588" y="1412203"/>
            <a:ext cx="426130" cy="400110"/>
          </a:xfrm>
          <a:prstGeom prst="rect">
            <a:avLst/>
          </a:prstGeom>
          <a:noFill/>
        </p:spPr>
        <p:txBody>
          <a:bodyPr wrap="square" lIns="0" rIns="0">
            <a:spAutoFit/>
          </a:bodyPr>
          <a:lstStyle/>
          <a:p>
            <a:r>
              <a:rPr lang="en-AU" sz="2000" b="1" spc="-100">
                <a:solidFill>
                  <a:srgbClr val="F7502D"/>
                </a:solidFill>
                <a:latin typeface="Segoe Print" panose="02000600000000000000" pitchFamily="2" charset="0"/>
              </a:rPr>
              <a:t>41</a:t>
            </a:r>
          </a:p>
        </p:txBody>
      </p:sp>
      <p:sp>
        <p:nvSpPr>
          <p:cNvPr id="57" name="TextBox 56">
            <a:extLst>
              <a:ext uri="{FF2B5EF4-FFF2-40B4-BE49-F238E27FC236}">
                <a16:creationId xmlns:a16="http://schemas.microsoft.com/office/drawing/2014/main" id="{49333716-77B0-EE81-EE69-91BA89E419CE}"/>
              </a:ext>
            </a:extLst>
          </p:cNvPr>
          <p:cNvSpPr txBox="1"/>
          <p:nvPr/>
        </p:nvSpPr>
        <p:spPr>
          <a:xfrm>
            <a:off x="1093430" y="1456052"/>
            <a:ext cx="2225794" cy="261610"/>
          </a:xfrm>
          <a:prstGeom prst="rect">
            <a:avLst/>
          </a:prstGeom>
          <a:noFill/>
        </p:spPr>
        <p:txBody>
          <a:bodyPr wrap="square" lIns="0" rIns="0">
            <a:spAutoFit/>
          </a:bodyPr>
          <a:lstStyle/>
          <a:p>
            <a:pPr>
              <a:spcBef>
                <a:spcPts val="1055"/>
              </a:spcBef>
            </a:pPr>
            <a:r>
              <a:rPr lang="en-AU" sz="1100" dirty="0">
                <a:solidFill>
                  <a:schemeClr val="bg1"/>
                </a:solidFill>
                <a:latin typeface="+mj-lt"/>
                <a:cs typeface="Segoe UI Light" panose="020B0502040204020203" pitchFamily="34" charset="0"/>
              </a:rPr>
              <a:t>First Nations business owners</a:t>
            </a:r>
          </a:p>
        </p:txBody>
      </p:sp>
      <p:sp>
        <p:nvSpPr>
          <p:cNvPr id="27" name="TextBox 26">
            <a:extLst>
              <a:ext uri="{FF2B5EF4-FFF2-40B4-BE49-F238E27FC236}">
                <a16:creationId xmlns:a16="http://schemas.microsoft.com/office/drawing/2014/main" id="{1F22F8C3-2881-0524-F06B-DF580828D2D6}"/>
              </a:ext>
            </a:extLst>
          </p:cNvPr>
          <p:cNvSpPr txBox="1"/>
          <p:nvPr/>
        </p:nvSpPr>
        <p:spPr>
          <a:xfrm>
            <a:off x="429071" y="2095960"/>
            <a:ext cx="441820" cy="400110"/>
          </a:xfrm>
          <a:prstGeom prst="rect">
            <a:avLst/>
          </a:prstGeom>
          <a:noFill/>
        </p:spPr>
        <p:txBody>
          <a:bodyPr wrap="square" lIns="0" rIns="0">
            <a:spAutoFit/>
          </a:bodyPr>
          <a:lstStyle/>
          <a:p>
            <a:r>
              <a:rPr lang="en-AU" sz="2000" b="1" spc="-100">
                <a:solidFill>
                  <a:srgbClr val="F25D22"/>
                </a:solidFill>
                <a:latin typeface="Segoe Print" panose="02000600000000000000" pitchFamily="2" charset="0"/>
              </a:rPr>
              <a:t>18</a:t>
            </a:r>
          </a:p>
        </p:txBody>
      </p:sp>
      <p:sp>
        <p:nvSpPr>
          <p:cNvPr id="25" name="TextBox 24">
            <a:extLst>
              <a:ext uri="{FF2B5EF4-FFF2-40B4-BE49-F238E27FC236}">
                <a16:creationId xmlns:a16="http://schemas.microsoft.com/office/drawing/2014/main" id="{26B8EE93-BFE7-22A3-79C5-A59E3BD4FF7C}"/>
              </a:ext>
            </a:extLst>
          </p:cNvPr>
          <p:cNvSpPr txBox="1"/>
          <p:nvPr/>
        </p:nvSpPr>
        <p:spPr>
          <a:xfrm>
            <a:off x="1090211" y="1892764"/>
            <a:ext cx="2391177" cy="1061829"/>
          </a:xfrm>
          <a:prstGeom prst="rect">
            <a:avLst/>
          </a:prstGeom>
          <a:noFill/>
        </p:spPr>
        <p:txBody>
          <a:bodyPr wrap="square" lIns="0" rIns="0">
            <a:spAutoFit/>
          </a:bodyPr>
          <a:lstStyle/>
          <a:p>
            <a:pPr>
              <a:spcBef>
                <a:spcPts val="300"/>
              </a:spcBef>
            </a:pPr>
            <a:r>
              <a:rPr lang="en-AU" sz="1100">
                <a:solidFill>
                  <a:schemeClr val="bg1"/>
                </a:solidFill>
                <a:latin typeface="+mj-lt"/>
                <a:cs typeface="Segoe UI Light" panose="020B0502040204020203" pitchFamily="34" charset="0"/>
              </a:rPr>
              <a:t>Hub partners</a:t>
            </a:r>
          </a:p>
          <a:p>
            <a:pPr>
              <a:spcBef>
                <a:spcPts val="300"/>
              </a:spcBef>
            </a:pPr>
            <a:r>
              <a:rPr lang="en-AU" sz="900">
                <a:solidFill>
                  <a:schemeClr val="bg1"/>
                </a:solidFill>
                <a:latin typeface="Segoe UI Semilight" panose="020B0402040204020203" pitchFamily="34" charset="0"/>
                <a:cs typeface="Segoe UI Semilight" panose="020B0402040204020203" pitchFamily="34" charset="0"/>
              </a:rPr>
              <a:t>Hub partners are organisations or businesses who work with the hubs to provide services to hub clients or receive support from the hubs to better engage with First Nations people.</a:t>
            </a:r>
          </a:p>
          <a:p>
            <a:pPr>
              <a:spcBef>
                <a:spcPts val="300"/>
              </a:spcBef>
            </a:pPr>
            <a:endParaRPr lang="en-AU" sz="1100">
              <a:solidFill>
                <a:schemeClr val="bg1"/>
              </a:solidFill>
              <a:latin typeface="+mj-lt"/>
              <a:cs typeface="Segoe UI Light" panose="020B0502040204020203" pitchFamily="34" charset="0"/>
            </a:endParaRPr>
          </a:p>
        </p:txBody>
      </p:sp>
      <p:sp>
        <p:nvSpPr>
          <p:cNvPr id="34" name="TextBox 33">
            <a:extLst>
              <a:ext uri="{FF2B5EF4-FFF2-40B4-BE49-F238E27FC236}">
                <a16:creationId xmlns:a16="http://schemas.microsoft.com/office/drawing/2014/main" id="{FEA8AD6F-C694-1B9E-D033-E3E6B03F6D21}"/>
              </a:ext>
            </a:extLst>
          </p:cNvPr>
          <p:cNvSpPr txBox="1"/>
          <p:nvPr/>
        </p:nvSpPr>
        <p:spPr>
          <a:xfrm>
            <a:off x="441055" y="2796896"/>
            <a:ext cx="426130" cy="400110"/>
          </a:xfrm>
          <a:prstGeom prst="rect">
            <a:avLst/>
          </a:prstGeom>
          <a:noFill/>
        </p:spPr>
        <p:txBody>
          <a:bodyPr wrap="square" lIns="0" rIns="0">
            <a:spAutoFit/>
          </a:bodyPr>
          <a:lstStyle/>
          <a:p>
            <a:r>
              <a:rPr lang="en-AU" sz="2000" b="1" spc="-100" dirty="0">
                <a:solidFill>
                  <a:srgbClr val="F4761F"/>
                </a:solidFill>
                <a:latin typeface="Segoe Print" panose="02000600000000000000" pitchFamily="2" charset="0"/>
              </a:rPr>
              <a:t>33</a:t>
            </a:r>
          </a:p>
        </p:txBody>
      </p:sp>
      <p:sp>
        <p:nvSpPr>
          <p:cNvPr id="33" name="TextBox 32">
            <a:extLst>
              <a:ext uri="{FF2B5EF4-FFF2-40B4-BE49-F238E27FC236}">
                <a16:creationId xmlns:a16="http://schemas.microsoft.com/office/drawing/2014/main" id="{C1BD7FCB-A3CC-2406-331B-ADCB77651FF3}"/>
              </a:ext>
            </a:extLst>
          </p:cNvPr>
          <p:cNvSpPr txBox="1"/>
          <p:nvPr/>
        </p:nvSpPr>
        <p:spPr>
          <a:xfrm>
            <a:off x="1086962" y="2832278"/>
            <a:ext cx="1666123" cy="261610"/>
          </a:xfrm>
          <a:prstGeom prst="rect">
            <a:avLst/>
          </a:prstGeom>
          <a:noFill/>
        </p:spPr>
        <p:txBody>
          <a:bodyPr wrap="square" lIns="0" rIns="0">
            <a:spAutoFit/>
          </a:bodyPr>
          <a:lstStyle/>
          <a:p>
            <a:pPr>
              <a:spcBef>
                <a:spcPts val="1055"/>
              </a:spcBef>
            </a:pPr>
            <a:r>
              <a:rPr lang="en-AU" sz="1100">
                <a:solidFill>
                  <a:schemeClr val="bg1"/>
                </a:solidFill>
                <a:latin typeface="+mj-lt"/>
                <a:cs typeface="Segoe UI Light" panose="020B0502040204020203" pitchFamily="34" charset="0"/>
              </a:rPr>
              <a:t>Hub staff members</a:t>
            </a:r>
          </a:p>
        </p:txBody>
      </p:sp>
      <p:sp>
        <p:nvSpPr>
          <p:cNvPr id="40" name="TextBox 39">
            <a:extLst>
              <a:ext uri="{FF2B5EF4-FFF2-40B4-BE49-F238E27FC236}">
                <a16:creationId xmlns:a16="http://schemas.microsoft.com/office/drawing/2014/main" id="{9035D003-A352-0465-7047-02BAD1E43A97}"/>
              </a:ext>
            </a:extLst>
          </p:cNvPr>
          <p:cNvSpPr txBox="1"/>
          <p:nvPr/>
        </p:nvSpPr>
        <p:spPr>
          <a:xfrm>
            <a:off x="424121" y="3524109"/>
            <a:ext cx="426130" cy="400110"/>
          </a:xfrm>
          <a:prstGeom prst="rect">
            <a:avLst/>
          </a:prstGeom>
          <a:noFill/>
        </p:spPr>
        <p:txBody>
          <a:bodyPr wrap="square" lIns="0" rIns="0">
            <a:spAutoFit/>
          </a:bodyPr>
          <a:lstStyle/>
          <a:p>
            <a:r>
              <a:rPr lang="en-AU" sz="2000" b="1" spc="-100">
                <a:solidFill>
                  <a:srgbClr val="F89C1F"/>
                </a:solidFill>
                <a:latin typeface="Segoe Print" panose="02000600000000000000" pitchFamily="2" charset="0"/>
              </a:rPr>
              <a:t>24</a:t>
            </a:r>
          </a:p>
        </p:txBody>
      </p:sp>
      <p:sp>
        <p:nvSpPr>
          <p:cNvPr id="38" name="TextBox 37">
            <a:extLst>
              <a:ext uri="{FF2B5EF4-FFF2-40B4-BE49-F238E27FC236}">
                <a16:creationId xmlns:a16="http://schemas.microsoft.com/office/drawing/2014/main" id="{95FADC83-0E33-BC0B-BE49-F90859557E47}"/>
              </a:ext>
            </a:extLst>
          </p:cNvPr>
          <p:cNvSpPr txBox="1"/>
          <p:nvPr/>
        </p:nvSpPr>
        <p:spPr>
          <a:xfrm>
            <a:off x="1086963" y="3469053"/>
            <a:ext cx="2614861" cy="459421"/>
          </a:xfrm>
          <a:prstGeom prst="rect">
            <a:avLst/>
          </a:prstGeom>
          <a:noFill/>
        </p:spPr>
        <p:txBody>
          <a:bodyPr wrap="square" lIns="0" rIns="0">
            <a:spAutoFit/>
          </a:bodyPr>
          <a:lstStyle/>
          <a:p>
            <a:pPr>
              <a:lnSpc>
                <a:spcPts val="1500"/>
              </a:lnSpc>
            </a:pPr>
            <a:r>
              <a:rPr lang="en-AU" sz="1100">
                <a:solidFill>
                  <a:schemeClr val="bg1"/>
                </a:solidFill>
                <a:latin typeface="+mj-lt"/>
                <a:cs typeface="Segoe UI Light" panose="020B0502040204020203" pitchFamily="34" charset="0"/>
              </a:rPr>
              <a:t>State, territory and Australian Government representatives</a:t>
            </a:r>
          </a:p>
        </p:txBody>
      </p:sp>
      <p:sp>
        <p:nvSpPr>
          <p:cNvPr id="47" name="TextBox 46">
            <a:extLst>
              <a:ext uri="{FF2B5EF4-FFF2-40B4-BE49-F238E27FC236}">
                <a16:creationId xmlns:a16="http://schemas.microsoft.com/office/drawing/2014/main" id="{91119423-F8CF-F1E5-218D-E07BE898CBEE}"/>
              </a:ext>
            </a:extLst>
          </p:cNvPr>
          <p:cNvSpPr txBox="1"/>
          <p:nvPr/>
        </p:nvSpPr>
        <p:spPr>
          <a:xfrm>
            <a:off x="398720" y="4243134"/>
            <a:ext cx="426130" cy="400110"/>
          </a:xfrm>
          <a:prstGeom prst="rect">
            <a:avLst/>
          </a:prstGeom>
          <a:noFill/>
        </p:spPr>
        <p:txBody>
          <a:bodyPr wrap="square" lIns="0" rIns="0">
            <a:spAutoFit/>
          </a:bodyPr>
          <a:lstStyle/>
          <a:p>
            <a:pPr algn="ctr"/>
            <a:r>
              <a:rPr lang="en-AU" sz="2000" b="1" dirty="0">
                <a:solidFill>
                  <a:srgbClr val="FAA725"/>
                </a:solidFill>
                <a:latin typeface="Segoe Print" panose="02000600000000000000" pitchFamily="2" charset="0"/>
              </a:rPr>
              <a:t>7</a:t>
            </a:r>
          </a:p>
        </p:txBody>
      </p:sp>
      <p:sp>
        <p:nvSpPr>
          <p:cNvPr id="46" name="TextBox 45">
            <a:extLst>
              <a:ext uri="{FF2B5EF4-FFF2-40B4-BE49-F238E27FC236}">
                <a16:creationId xmlns:a16="http://schemas.microsoft.com/office/drawing/2014/main" id="{C334F0A2-40F2-3464-C808-FF448ED56A1C}"/>
              </a:ext>
            </a:extLst>
          </p:cNvPr>
          <p:cNvSpPr txBox="1"/>
          <p:nvPr/>
        </p:nvSpPr>
        <p:spPr>
          <a:xfrm>
            <a:off x="1086962" y="4187295"/>
            <a:ext cx="2315823" cy="460895"/>
          </a:xfrm>
          <a:prstGeom prst="rect">
            <a:avLst/>
          </a:prstGeom>
          <a:noFill/>
        </p:spPr>
        <p:txBody>
          <a:bodyPr wrap="square" lIns="0" rIns="0">
            <a:spAutoFit/>
          </a:bodyPr>
          <a:lstStyle/>
          <a:p>
            <a:pPr>
              <a:lnSpc>
                <a:spcPts val="1500"/>
              </a:lnSpc>
            </a:pPr>
            <a:r>
              <a:rPr lang="en-AU" sz="1100" dirty="0">
                <a:solidFill>
                  <a:schemeClr val="bg1"/>
                </a:solidFill>
                <a:latin typeface="+mj-lt"/>
                <a:cs typeface="Segoe UI Light" panose="020B0502040204020203" pitchFamily="34" charset="0"/>
              </a:rPr>
              <a:t>Community stakeholders who work with First Nations businesses</a:t>
            </a:r>
          </a:p>
        </p:txBody>
      </p:sp>
      <p:sp>
        <p:nvSpPr>
          <p:cNvPr id="53" name="TextBox 52">
            <a:extLst>
              <a:ext uri="{FF2B5EF4-FFF2-40B4-BE49-F238E27FC236}">
                <a16:creationId xmlns:a16="http://schemas.microsoft.com/office/drawing/2014/main" id="{10D0188E-6E8E-2FD2-6917-E0E56944D049}"/>
              </a:ext>
            </a:extLst>
          </p:cNvPr>
          <p:cNvSpPr txBox="1"/>
          <p:nvPr/>
        </p:nvSpPr>
        <p:spPr>
          <a:xfrm>
            <a:off x="424121" y="4928408"/>
            <a:ext cx="426130" cy="400110"/>
          </a:xfrm>
          <a:prstGeom prst="rect">
            <a:avLst/>
          </a:prstGeom>
          <a:noFill/>
        </p:spPr>
        <p:txBody>
          <a:bodyPr wrap="square" lIns="0" rIns="0">
            <a:spAutoFit/>
          </a:bodyPr>
          <a:lstStyle/>
          <a:p>
            <a:r>
              <a:rPr lang="en-AU" sz="2000" b="1" spc="-100">
                <a:solidFill>
                  <a:srgbClr val="FAAD28"/>
                </a:solidFill>
                <a:latin typeface="Segoe Print" panose="02000600000000000000" pitchFamily="2" charset="0"/>
              </a:rPr>
              <a:t>13</a:t>
            </a:r>
          </a:p>
        </p:txBody>
      </p:sp>
      <p:sp>
        <p:nvSpPr>
          <p:cNvPr id="51" name="TextBox 50">
            <a:extLst>
              <a:ext uri="{FF2B5EF4-FFF2-40B4-BE49-F238E27FC236}">
                <a16:creationId xmlns:a16="http://schemas.microsoft.com/office/drawing/2014/main" id="{209F57AF-E757-7B4F-F926-F538E805098E}"/>
              </a:ext>
            </a:extLst>
          </p:cNvPr>
          <p:cNvSpPr txBox="1"/>
          <p:nvPr/>
        </p:nvSpPr>
        <p:spPr>
          <a:xfrm>
            <a:off x="1086963" y="4784901"/>
            <a:ext cx="2586114" cy="653256"/>
          </a:xfrm>
          <a:prstGeom prst="rect">
            <a:avLst/>
          </a:prstGeom>
          <a:noFill/>
        </p:spPr>
        <p:txBody>
          <a:bodyPr wrap="square" lIns="0" rIns="0">
            <a:spAutoFit/>
          </a:bodyPr>
          <a:lstStyle/>
          <a:p>
            <a:pPr>
              <a:lnSpc>
                <a:spcPts val="1500"/>
              </a:lnSpc>
            </a:pPr>
            <a:r>
              <a:rPr lang="en-AU" sz="1100">
                <a:solidFill>
                  <a:schemeClr val="bg1"/>
                </a:solidFill>
                <a:latin typeface="+mj-lt"/>
                <a:cs typeface="Segoe UI Light" panose="020B0502040204020203" pitchFamily="34" charset="0"/>
              </a:rPr>
              <a:t>Stakeholders from QLD, to understand the needs of First Nations business owners who do not have access to a hub</a:t>
            </a:r>
          </a:p>
        </p:txBody>
      </p:sp>
      <p:sp>
        <p:nvSpPr>
          <p:cNvPr id="23" name="Rectangle 22">
            <a:extLst>
              <a:ext uri="{FF2B5EF4-FFF2-40B4-BE49-F238E27FC236}">
                <a16:creationId xmlns:a16="http://schemas.microsoft.com/office/drawing/2014/main" id="{CB1785DA-37F9-C0D5-54C6-82F2141BD222}"/>
              </a:ext>
            </a:extLst>
          </p:cNvPr>
          <p:cNvSpPr/>
          <p:nvPr/>
        </p:nvSpPr>
        <p:spPr>
          <a:xfrm>
            <a:off x="359122" y="5620343"/>
            <a:ext cx="3443258" cy="1514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nSpc>
                <a:spcPts val="1500"/>
              </a:lnSpc>
              <a:spcBef>
                <a:spcPts val="600"/>
              </a:spcBef>
            </a:pPr>
            <a:r>
              <a:rPr lang="en-AU" sz="1050" dirty="0">
                <a:solidFill>
                  <a:schemeClr val="bg1"/>
                </a:solidFill>
                <a:latin typeface="Segoe UI Semilight" panose="020B0402040204020203" pitchFamily="34" charset="0"/>
                <a:cs typeface="Segoe UI Semilight" panose="020B0402040204020203" pitchFamily="34" charset="0"/>
              </a:rPr>
              <a:t>The evaluation team used Queensland as a case study to understand the needs of First Nations businesses in a state where there is not a hub. </a:t>
            </a:r>
          </a:p>
          <a:p>
            <a:pPr>
              <a:lnSpc>
                <a:spcPts val="1500"/>
              </a:lnSpc>
              <a:spcBef>
                <a:spcPts val="600"/>
              </a:spcBef>
            </a:pPr>
            <a:r>
              <a:rPr lang="en-AU" sz="1050" dirty="0">
                <a:solidFill>
                  <a:schemeClr val="bg1"/>
                </a:solidFill>
                <a:latin typeface="Segoe UI Semilight" panose="020B0402040204020203" pitchFamily="34" charset="0"/>
                <a:cs typeface="Segoe UI Semilight" panose="020B0402040204020203" pitchFamily="34" charset="0"/>
              </a:rPr>
              <a:t>Interviews with stakeholders from Queensland showed that a ‘one-stop-shop’ hub model, where everything businesses need can be found through one place, is important in coordinating support for First Nations businesses.</a:t>
            </a:r>
          </a:p>
        </p:txBody>
      </p:sp>
      <p:sp>
        <p:nvSpPr>
          <p:cNvPr id="7" name="Title 6">
            <a:extLst>
              <a:ext uri="{FF2B5EF4-FFF2-40B4-BE49-F238E27FC236}">
                <a16:creationId xmlns:a16="http://schemas.microsoft.com/office/drawing/2014/main" id="{16CDF1DD-F08B-31D9-E2E9-0D842FF73143}"/>
              </a:ext>
            </a:extLst>
          </p:cNvPr>
          <p:cNvSpPr>
            <a:spLocks noGrp="1"/>
          </p:cNvSpPr>
          <p:nvPr>
            <p:ph type="title" idx="4294967295"/>
          </p:nvPr>
        </p:nvSpPr>
        <p:spPr>
          <a:xfrm>
            <a:off x="4590270" y="315269"/>
            <a:ext cx="5668640" cy="55033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349" rtl="0" eaLnBrk="1" fontAlgn="auto" latinLnBrk="0" hangingPunct="1">
              <a:lnSpc>
                <a:spcPts val="2200"/>
              </a:lnSpc>
              <a:spcBef>
                <a:spcPts val="1055"/>
              </a:spcBef>
              <a:spcAft>
                <a:spcPts val="0"/>
              </a:spcAft>
              <a:buClrTx/>
              <a:buSzTx/>
              <a:buFontTx/>
              <a:buNone/>
              <a:tabLst/>
              <a:defRPr/>
            </a:pPr>
            <a:r>
              <a:rPr kumimoji="0" lang="en-AU" sz="1800" b="0" i="0" u="none" strike="noStrike" kern="1200" cap="none" spc="0" normalizeH="0" baseline="0" noProof="0" dirty="0">
                <a:ln>
                  <a:noFill/>
                </a:ln>
                <a:solidFill>
                  <a:schemeClr val="bg2"/>
                </a:solidFill>
                <a:effectLst/>
                <a:uLnTx/>
                <a:uFillTx/>
                <a:latin typeface="+mj-lt"/>
                <a:ea typeface="+mn-ea"/>
                <a:cs typeface="+mn-cs"/>
              </a:rPr>
              <a:t>The evaluation found that the hubs program is providing valuable support to First Nations businesses</a:t>
            </a:r>
            <a:endParaRPr kumimoji="0" lang="en-AU" sz="1800" b="0" i="0" u="none" strike="noStrike" kern="1200" cap="none" spc="0" normalizeH="0" baseline="0" noProof="0" dirty="0">
              <a:ln>
                <a:noFill/>
              </a:ln>
              <a:solidFill>
                <a:schemeClr val="bg2"/>
              </a:solidFill>
              <a:effectLst/>
              <a:uLnTx/>
              <a:uFillTx/>
              <a:latin typeface="+mn-lt"/>
              <a:ea typeface="+mn-ea"/>
              <a:cs typeface="+mn-cs"/>
            </a:endParaRPr>
          </a:p>
        </p:txBody>
      </p:sp>
      <p:sp>
        <p:nvSpPr>
          <p:cNvPr id="8" name="Rectangle 7">
            <a:extLst>
              <a:ext uri="{FF2B5EF4-FFF2-40B4-BE49-F238E27FC236}">
                <a16:creationId xmlns:a16="http://schemas.microsoft.com/office/drawing/2014/main" id="{E43806A1-C7E1-D718-C2F9-6491676AB86B}"/>
              </a:ext>
            </a:extLst>
          </p:cNvPr>
          <p:cNvSpPr/>
          <p:nvPr/>
        </p:nvSpPr>
        <p:spPr>
          <a:xfrm>
            <a:off x="4590270" y="1108316"/>
            <a:ext cx="5715337" cy="44866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nSpc>
                <a:spcPct val="107000"/>
              </a:lnSpc>
              <a:spcAft>
                <a:spcPts val="1000"/>
              </a:spcAft>
              <a:buSzPts val="800"/>
            </a:pPr>
            <a:r>
              <a:rPr lang="en-AU" sz="1400" b="1" dirty="0">
                <a:ln w="3175" cap="rnd">
                  <a:noFill/>
                </a:ln>
                <a:solidFill>
                  <a:schemeClr val="accent2"/>
                </a:solidFill>
                <a:latin typeface="Segoe Print" panose="02000600000000000000" pitchFamily="2" charset="0"/>
                <a:cs typeface="Times New Roman" panose="02020603050405020304" pitchFamily="18" charset="0"/>
              </a:rPr>
              <a:t>Key findings</a:t>
            </a:r>
          </a:p>
          <a:p>
            <a:pPr>
              <a:lnSpc>
                <a:spcPct val="107000"/>
              </a:lnSpc>
              <a:spcAft>
                <a:spcPts val="600"/>
              </a:spcAft>
              <a:buSzPts val="800"/>
            </a:pPr>
            <a:r>
              <a:rPr lang="en-AU" sz="1100" dirty="0">
                <a:solidFill>
                  <a:schemeClr val="bg2"/>
                </a:solidFill>
                <a:latin typeface="+mj-lt"/>
                <a:cs typeface="Segoe UI Light" panose="020B0502040204020203" pitchFamily="34" charset="0"/>
              </a:rPr>
              <a:t>The hubs are: </a:t>
            </a:r>
          </a:p>
          <a:p>
            <a:pPr marL="216000">
              <a:lnSpc>
                <a:spcPct val="107000"/>
              </a:lnSpc>
              <a:spcAft>
                <a:spcPts val="900"/>
              </a:spcAft>
              <a:buSzPct val="100000"/>
            </a:pPr>
            <a:r>
              <a:rPr lang="en-AU" sz="1050" dirty="0">
                <a:solidFill>
                  <a:schemeClr val="bg2"/>
                </a:solidFill>
                <a:ea typeface="Times New Roman" panose="02020603050405020304" pitchFamily="18" charset="0"/>
                <a:cs typeface="Segoe UI Light" panose="020B0502040204020203" pitchFamily="34" charset="0"/>
              </a:rPr>
              <a:t>delivering appropriate support that meets the needs of individual First Nations entrepreneurs and business owners, especially those with new businesses.</a:t>
            </a:r>
          </a:p>
          <a:p>
            <a:pPr marL="216000">
              <a:lnSpc>
                <a:spcPct val="107000"/>
              </a:lnSpc>
              <a:spcAft>
                <a:spcPts val="900"/>
              </a:spcAft>
              <a:buSzPct val="100000"/>
            </a:pPr>
            <a:r>
              <a:rPr lang="en-AU" sz="1050" dirty="0">
                <a:solidFill>
                  <a:schemeClr val="bg2"/>
                </a:solidFill>
                <a:ea typeface="Times New Roman" panose="02020603050405020304" pitchFamily="18" charset="0"/>
                <a:cs typeface="Segoe UI Light" panose="020B0502040204020203" pitchFamily="34" charset="0"/>
              </a:rPr>
              <a:t>collaborating well with their industry and government partners to deliver services to clients </a:t>
            </a:r>
          </a:p>
          <a:p>
            <a:pPr marL="216000">
              <a:lnSpc>
                <a:spcPct val="107000"/>
              </a:lnSpc>
              <a:spcAft>
                <a:spcPts val="900"/>
              </a:spcAft>
              <a:buSzPct val="100000"/>
            </a:pPr>
            <a:r>
              <a:rPr lang="en-AU" sz="1050" dirty="0">
                <a:solidFill>
                  <a:schemeClr val="bg2"/>
                </a:solidFill>
                <a:ea typeface="Times New Roman" panose="02020603050405020304" pitchFamily="18" charset="0"/>
                <a:cs typeface="Segoe UI Light" panose="020B0502040204020203" pitchFamily="34" charset="0"/>
              </a:rPr>
              <a:t>supporting networking between First Nations businesses.</a:t>
            </a:r>
          </a:p>
          <a:p>
            <a:pPr marL="216000">
              <a:lnSpc>
                <a:spcPct val="107000"/>
              </a:lnSpc>
              <a:spcAft>
                <a:spcPts val="900"/>
              </a:spcAft>
              <a:buSzPct val="100000"/>
            </a:pPr>
            <a:r>
              <a:rPr lang="en-AU" sz="1050" dirty="0">
                <a:solidFill>
                  <a:schemeClr val="bg2"/>
                </a:solidFill>
                <a:ea typeface="Times New Roman" panose="02020603050405020304" pitchFamily="18" charset="0"/>
                <a:cs typeface="Segoe UI Light" panose="020B0502040204020203" pitchFamily="34" charset="0"/>
              </a:rPr>
              <a:t>delivering services in a culturally safe way and in a way that recognises First Nations business owner’s strengths.</a:t>
            </a:r>
          </a:p>
          <a:p>
            <a:pPr marL="216000">
              <a:lnSpc>
                <a:spcPct val="107000"/>
              </a:lnSpc>
              <a:spcAft>
                <a:spcPts val="900"/>
              </a:spcAft>
              <a:buSzPct val="100000"/>
            </a:pPr>
            <a:r>
              <a:rPr lang="en-AU" sz="1050" dirty="0">
                <a:solidFill>
                  <a:schemeClr val="bg2"/>
                </a:solidFill>
                <a:ea typeface="Times New Roman" panose="02020603050405020304" pitchFamily="18" charset="0"/>
                <a:cs typeface="Segoe UI Light" panose="020B0502040204020203" pitchFamily="34" charset="0"/>
              </a:rPr>
              <a:t>meeting most of the expected outcomes of the program, particularly by providing a single place for First Nations people to access business supports, including assistance to connect with First Nations specific and mainstream services. </a:t>
            </a:r>
          </a:p>
          <a:p>
            <a:pPr marL="216000">
              <a:lnSpc>
                <a:spcPct val="107000"/>
              </a:lnSpc>
              <a:spcAft>
                <a:spcPts val="900"/>
              </a:spcAft>
              <a:buSzPct val="100000"/>
            </a:pPr>
            <a:r>
              <a:rPr lang="en-AU" sz="1050" dirty="0">
                <a:solidFill>
                  <a:schemeClr val="bg2"/>
                </a:solidFill>
                <a:ea typeface="Times New Roman" panose="02020603050405020304" pitchFamily="18" charset="0"/>
                <a:cs typeface="Segoe UI Light" panose="020B0502040204020203" pitchFamily="34" charset="0"/>
              </a:rPr>
              <a:t>supporting many of their clients to grow their businesses through capability building support and connection to buyers looking to purchase First Nations businesses’ goods and services.</a:t>
            </a:r>
          </a:p>
          <a:p>
            <a:pPr marL="216000">
              <a:lnSpc>
                <a:spcPct val="107000"/>
              </a:lnSpc>
              <a:spcAft>
                <a:spcPts val="900"/>
              </a:spcAft>
              <a:buSzPct val="100000"/>
            </a:pPr>
            <a:r>
              <a:rPr lang="en-AU" sz="1050" dirty="0">
                <a:solidFill>
                  <a:schemeClr val="bg2"/>
                </a:solidFill>
                <a:ea typeface="Times New Roman" panose="02020603050405020304" pitchFamily="18" charset="0"/>
                <a:cs typeface="Segoe UI Light" panose="020B0502040204020203" pitchFamily="34" charset="0"/>
              </a:rPr>
              <a:t>making progress in increasing their support of businesses in regional areas, but more can be done to reach and assist these businesses. </a:t>
            </a:r>
          </a:p>
          <a:p>
            <a:pPr marL="216000">
              <a:lnSpc>
                <a:spcPct val="107000"/>
              </a:lnSpc>
              <a:spcAft>
                <a:spcPts val="806"/>
              </a:spcAft>
              <a:buSzPct val="100000"/>
            </a:pPr>
            <a:r>
              <a:rPr lang="en-AU" sz="1050" dirty="0">
                <a:solidFill>
                  <a:schemeClr val="bg2"/>
                </a:solidFill>
                <a:ea typeface="Times New Roman" panose="02020603050405020304" pitchFamily="18" charset="0"/>
                <a:cs typeface="Segoe UI Light" panose="020B0502040204020203" pitchFamily="34" charset="0"/>
              </a:rPr>
              <a:t>providing support to the First Nations business sector that is needed and valued by First Nations business owners</a:t>
            </a:r>
          </a:p>
          <a:p>
            <a:pPr marL="216000">
              <a:lnSpc>
                <a:spcPct val="107000"/>
              </a:lnSpc>
              <a:spcAft>
                <a:spcPts val="806"/>
              </a:spcAft>
              <a:buSzPct val="100000"/>
            </a:pPr>
            <a:endParaRPr lang="en-AU" sz="1100" dirty="0">
              <a:solidFill>
                <a:schemeClr val="bg2"/>
              </a:solidFill>
              <a:ea typeface="Times New Roman" panose="02020603050405020304" pitchFamily="18" charset="0"/>
              <a:cs typeface="Segoe UI Light" panose="020B0502040204020203" pitchFamily="34" charset="0"/>
            </a:endParaRPr>
          </a:p>
        </p:txBody>
      </p:sp>
      <p:sp>
        <p:nvSpPr>
          <p:cNvPr id="9" name="Freeform: Shape 8">
            <a:extLst>
              <a:ext uri="{FF2B5EF4-FFF2-40B4-BE49-F238E27FC236}">
                <a16:creationId xmlns:a16="http://schemas.microsoft.com/office/drawing/2014/main" id="{1BCDA218-B577-047A-A498-284BB041FC95}"/>
              </a:ext>
              <a:ext uri="{C183D7F6-B498-43B3-948B-1728B52AA6E4}">
                <adec:decorative xmlns:adec="http://schemas.microsoft.com/office/drawing/2017/decorative" val="1"/>
              </a:ext>
            </a:extLst>
          </p:cNvPr>
          <p:cNvSpPr/>
          <p:nvPr/>
        </p:nvSpPr>
        <p:spPr>
          <a:xfrm rot="5400000">
            <a:off x="4614446" y="1822624"/>
            <a:ext cx="74391" cy="49977"/>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0" name="Freeform: Shape 9">
            <a:extLst>
              <a:ext uri="{FF2B5EF4-FFF2-40B4-BE49-F238E27FC236}">
                <a16:creationId xmlns:a16="http://schemas.microsoft.com/office/drawing/2014/main" id="{A0F5EE59-4408-CFE6-9955-7215C3963218}"/>
              </a:ext>
              <a:ext uri="{C183D7F6-B498-43B3-948B-1728B52AA6E4}">
                <adec:decorative xmlns:adec="http://schemas.microsoft.com/office/drawing/2017/decorative" val="1"/>
              </a:ext>
            </a:extLst>
          </p:cNvPr>
          <p:cNvSpPr/>
          <p:nvPr/>
        </p:nvSpPr>
        <p:spPr>
          <a:xfrm rot="5400000">
            <a:off x="4614446" y="2280221"/>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1" name="Freeform: Shape 10">
            <a:extLst>
              <a:ext uri="{FF2B5EF4-FFF2-40B4-BE49-F238E27FC236}">
                <a16:creationId xmlns:a16="http://schemas.microsoft.com/office/drawing/2014/main" id="{E5236566-26B4-B488-A474-5F7E43276F4A}"/>
              </a:ext>
              <a:ext uri="{C183D7F6-B498-43B3-948B-1728B52AA6E4}">
                <adec:decorative xmlns:adec="http://schemas.microsoft.com/office/drawing/2017/decorative" val="1"/>
              </a:ext>
            </a:extLst>
          </p:cNvPr>
          <p:cNvSpPr/>
          <p:nvPr/>
        </p:nvSpPr>
        <p:spPr>
          <a:xfrm rot="5400000">
            <a:off x="4614446" y="2571444"/>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2" name="Freeform: Shape 11">
            <a:extLst>
              <a:ext uri="{FF2B5EF4-FFF2-40B4-BE49-F238E27FC236}">
                <a16:creationId xmlns:a16="http://schemas.microsoft.com/office/drawing/2014/main" id="{79C0F8B2-94BB-B7EA-C7BB-E728B9D3FD7C}"/>
              </a:ext>
              <a:ext uri="{C183D7F6-B498-43B3-948B-1728B52AA6E4}">
                <adec:decorative xmlns:adec="http://schemas.microsoft.com/office/drawing/2017/decorative" val="1"/>
              </a:ext>
            </a:extLst>
          </p:cNvPr>
          <p:cNvSpPr/>
          <p:nvPr/>
        </p:nvSpPr>
        <p:spPr>
          <a:xfrm rot="5400000">
            <a:off x="4614446" y="2857557"/>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3" name="Freeform: Shape 12">
            <a:extLst>
              <a:ext uri="{FF2B5EF4-FFF2-40B4-BE49-F238E27FC236}">
                <a16:creationId xmlns:a16="http://schemas.microsoft.com/office/drawing/2014/main" id="{87152ABA-A813-C728-C6DE-19F0CC109767}"/>
              </a:ext>
              <a:ext uri="{C183D7F6-B498-43B3-948B-1728B52AA6E4}">
                <adec:decorative xmlns:adec="http://schemas.microsoft.com/office/drawing/2017/decorative" val="1"/>
              </a:ext>
            </a:extLst>
          </p:cNvPr>
          <p:cNvSpPr/>
          <p:nvPr/>
        </p:nvSpPr>
        <p:spPr>
          <a:xfrm rot="5400000">
            <a:off x="4614446" y="3298047"/>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4" name="Freeform: Shape 13">
            <a:extLst>
              <a:ext uri="{FF2B5EF4-FFF2-40B4-BE49-F238E27FC236}">
                <a16:creationId xmlns:a16="http://schemas.microsoft.com/office/drawing/2014/main" id="{16B1339D-D702-5F62-B417-13C5A15423D3}"/>
              </a:ext>
              <a:ext uri="{C183D7F6-B498-43B3-948B-1728B52AA6E4}">
                <adec:decorative xmlns:adec="http://schemas.microsoft.com/office/drawing/2017/decorative" val="1"/>
              </a:ext>
            </a:extLst>
          </p:cNvPr>
          <p:cNvSpPr/>
          <p:nvPr/>
        </p:nvSpPr>
        <p:spPr>
          <a:xfrm rot="5400000">
            <a:off x="4614446" y="3928120"/>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5" name="Freeform: Shape 14">
            <a:extLst>
              <a:ext uri="{FF2B5EF4-FFF2-40B4-BE49-F238E27FC236}">
                <a16:creationId xmlns:a16="http://schemas.microsoft.com/office/drawing/2014/main" id="{9BD35EDF-BADE-66F5-AE79-F406A8AFECEA}"/>
              </a:ext>
              <a:ext uri="{C183D7F6-B498-43B3-948B-1728B52AA6E4}">
                <adec:decorative xmlns:adec="http://schemas.microsoft.com/office/drawing/2017/decorative" val="1"/>
              </a:ext>
            </a:extLst>
          </p:cNvPr>
          <p:cNvSpPr/>
          <p:nvPr/>
        </p:nvSpPr>
        <p:spPr>
          <a:xfrm rot="5400000">
            <a:off x="4614446" y="4387728"/>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6" name="TextBox 15">
            <a:extLst>
              <a:ext uri="{FF2B5EF4-FFF2-40B4-BE49-F238E27FC236}">
                <a16:creationId xmlns:a16="http://schemas.microsoft.com/office/drawing/2014/main" id="{FC994576-3BE4-9C2D-0C3C-E08EDD5C839F}"/>
              </a:ext>
            </a:extLst>
          </p:cNvPr>
          <p:cNvSpPr txBox="1"/>
          <p:nvPr/>
        </p:nvSpPr>
        <p:spPr>
          <a:xfrm>
            <a:off x="4590270" y="5421575"/>
            <a:ext cx="5668640" cy="1721112"/>
          </a:xfrm>
          <a:prstGeom prst="rect">
            <a:avLst/>
          </a:prstGeom>
          <a:noFill/>
        </p:spPr>
        <p:txBody>
          <a:bodyPr wrap="square" lIns="0" rIns="0">
            <a:spAutoFit/>
          </a:bodyPr>
          <a:lstStyle/>
          <a:p>
            <a:pPr>
              <a:lnSpc>
                <a:spcPct val="107000"/>
              </a:lnSpc>
              <a:spcAft>
                <a:spcPts val="600"/>
              </a:spcAft>
              <a:buSzPct val="100000"/>
            </a:pPr>
            <a:r>
              <a:rPr lang="en-AU" sz="1100">
                <a:solidFill>
                  <a:schemeClr val="bg2"/>
                </a:solidFill>
                <a:latin typeface="+mj-lt"/>
                <a:cs typeface="Segoe UI Light" panose="020B0502040204020203" pitchFamily="34" charset="0"/>
              </a:rPr>
              <a:t>There are opportunities for the hubs to strengthen: </a:t>
            </a:r>
          </a:p>
          <a:p>
            <a:pPr marL="216000">
              <a:lnSpc>
                <a:spcPct val="107000"/>
              </a:lnSpc>
              <a:spcAft>
                <a:spcPts val="900"/>
              </a:spcAft>
              <a:buSzPct val="100000"/>
            </a:pPr>
            <a:r>
              <a:rPr lang="en-AU" sz="1050">
                <a:solidFill>
                  <a:schemeClr val="bg2"/>
                </a:solidFill>
                <a:cs typeface="Segoe UI Light" panose="020B0502040204020203" pitchFamily="34" charset="0"/>
              </a:rPr>
              <a:t>support for clients with more established businesses to grow and scale their business sustainably</a:t>
            </a:r>
          </a:p>
          <a:p>
            <a:pPr marL="216000">
              <a:lnSpc>
                <a:spcPct val="107000"/>
              </a:lnSpc>
              <a:spcAft>
                <a:spcPts val="900"/>
              </a:spcAft>
              <a:buSzPct val="100000"/>
            </a:pPr>
            <a:r>
              <a:rPr lang="en-AU" sz="1050">
                <a:solidFill>
                  <a:schemeClr val="bg2"/>
                </a:solidFill>
                <a:cs typeface="Segoe UI Light" panose="020B0502040204020203" pitchFamily="34" charset="0"/>
              </a:rPr>
              <a:t>relationships with some services and government agencies, including financial services that provide loans to businesses</a:t>
            </a:r>
          </a:p>
          <a:p>
            <a:pPr marL="216000">
              <a:lnSpc>
                <a:spcPct val="107000"/>
              </a:lnSpc>
              <a:spcAft>
                <a:spcPts val="900"/>
              </a:spcAft>
              <a:buSzPct val="100000"/>
            </a:pPr>
            <a:r>
              <a:rPr lang="en-AU" sz="1050">
                <a:solidFill>
                  <a:schemeClr val="bg2"/>
                </a:solidFill>
                <a:cs typeface="Segoe UI Light" panose="020B0502040204020203" pitchFamily="34" charset="0"/>
              </a:rPr>
              <a:t>services delivered to First Nations people in regional areas</a:t>
            </a:r>
          </a:p>
          <a:p>
            <a:pPr marL="216000">
              <a:lnSpc>
                <a:spcPct val="107000"/>
              </a:lnSpc>
              <a:spcAft>
                <a:spcPts val="900"/>
              </a:spcAft>
              <a:buSzPct val="100000"/>
            </a:pPr>
            <a:r>
              <a:rPr lang="en-AU" sz="1050">
                <a:solidFill>
                  <a:schemeClr val="bg2"/>
                </a:solidFill>
                <a:cs typeface="Segoe UI Light" panose="020B0502040204020203" pitchFamily="34" charset="0"/>
              </a:rPr>
              <a:t>communication and collaboration between hubs</a:t>
            </a:r>
            <a:endParaRPr lang="en-AU" sz="1100">
              <a:solidFill>
                <a:schemeClr val="bg2"/>
              </a:solidFill>
              <a:cs typeface="Segoe UI Light" panose="020B0502040204020203" pitchFamily="34" charset="0"/>
            </a:endParaRPr>
          </a:p>
        </p:txBody>
      </p:sp>
      <p:sp>
        <p:nvSpPr>
          <p:cNvPr id="17" name="Freeform: Shape 16">
            <a:extLst>
              <a:ext uri="{FF2B5EF4-FFF2-40B4-BE49-F238E27FC236}">
                <a16:creationId xmlns:a16="http://schemas.microsoft.com/office/drawing/2014/main" id="{48833FC3-47B3-0E53-E5C6-2942068CCC0A}"/>
              </a:ext>
              <a:ext uri="{C183D7F6-B498-43B3-948B-1728B52AA6E4}">
                <adec:decorative xmlns:adec="http://schemas.microsoft.com/office/drawing/2017/decorative" val="1"/>
              </a:ext>
            </a:extLst>
          </p:cNvPr>
          <p:cNvSpPr/>
          <p:nvPr/>
        </p:nvSpPr>
        <p:spPr>
          <a:xfrm rot="5400000">
            <a:off x="4614446" y="5775673"/>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8" name="Freeform: Shape 17">
            <a:extLst>
              <a:ext uri="{FF2B5EF4-FFF2-40B4-BE49-F238E27FC236}">
                <a16:creationId xmlns:a16="http://schemas.microsoft.com/office/drawing/2014/main" id="{0780346B-3855-0EC5-B593-AFEA654393DB}"/>
              </a:ext>
              <a:ext uri="{C183D7F6-B498-43B3-948B-1728B52AA6E4}">
                <adec:decorative xmlns:adec="http://schemas.microsoft.com/office/drawing/2017/decorative" val="1"/>
              </a:ext>
            </a:extLst>
          </p:cNvPr>
          <p:cNvSpPr/>
          <p:nvPr/>
        </p:nvSpPr>
        <p:spPr>
          <a:xfrm rot="5400000">
            <a:off x="4614446" y="6235282"/>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19" name="Freeform: Shape 18">
            <a:extLst>
              <a:ext uri="{FF2B5EF4-FFF2-40B4-BE49-F238E27FC236}">
                <a16:creationId xmlns:a16="http://schemas.microsoft.com/office/drawing/2014/main" id="{0C35A265-CFE2-2815-057D-78FF7B760944}"/>
              </a:ext>
              <a:ext uri="{C183D7F6-B498-43B3-948B-1728B52AA6E4}">
                <adec:decorative xmlns:adec="http://schemas.microsoft.com/office/drawing/2017/decorative" val="1"/>
              </a:ext>
            </a:extLst>
          </p:cNvPr>
          <p:cNvSpPr/>
          <p:nvPr/>
        </p:nvSpPr>
        <p:spPr>
          <a:xfrm rot="5400000">
            <a:off x="4614446" y="6693392"/>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20" name="Freeform: Shape 19">
            <a:extLst>
              <a:ext uri="{FF2B5EF4-FFF2-40B4-BE49-F238E27FC236}">
                <a16:creationId xmlns:a16="http://schemas.microsoft.com/office/drawing/2014/main" id="{F2CEB36E-4AA9-919B-D9C8-F18697CE212A}"/>
              </a:ext>
              <a:ext uri="{C183D7F6-B498-43B3-948B-1728B52AA6E4}">
                <adec:decorative xmlns:adec="http://schemas.microsoft.com/office/drawing/2017/decorative" val="1"/>
              </a:ext>
            </a:extLst>
          </p:cNvPr>
          <p:cNvSpPr/>
          <p:nvPr/>
        </p:nvSpPr>
        <p:spPr>
          <a:xfrm rot="5400000">
            <a:off x="4614446" y="4848266"/>
            <a:ext cx="74393" cy="49978"/>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sp>
        <p:nvSpPr>
          <p:cNvPr id="21" name="Freeform: Shape 20">
            <a:extLst>
              <a:ext uri="{FF2B5EF4-FFF2-40B4-BE49-F238E27FC236}">
                <a16:creationId xmlns:a16="http://schemas.microsoft.com/office/drawing/2014/main" id="{0ADCC9CF-FAC3-8A27-61E7-F727D8524838}"/>
              </a:ext>
              <a:ext uri="{C183D7F6-B498-43B3-948B-1728B52AA6E4}">
                <adec:decorative xmlns:adec="http://schemas.microsoft.com/office/drawing/2017/decorative" val="1"/>
              </a:ext>
            </a:extLst>
          </p:cNvPr>
          <p:cNvSpPr/>
          <p:nvPr/>
        </p:nvSpPr>
        <p:spPr>
          <a:xfrm rot="5400000">
            <a:off x="4614446" y="6979506"/>
            <a:ext cx="74394" cy="49979"/>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solidFill>
                <a:schemeClr val="accent2"/>
              </a:solidFill>
            </a:endParaRPr>
          </a:p>
        </p:txBody>
      </p:sp>
      <p:grpSp>
        <p:nvGrpSpPr>
          <p:cNvPr id="26" name="Group 25">
            <a:extLst>
              <a:ext uri="{FF2B5EF4-FFF2-40B4-BE49-F238E27FC236}">
                <a16:creationId xmlns:a16="http://schemas.microsoft.com/office/drawing/2014/main" id="{1D7F91C7-AFB6-2AC2-2E7F-BB7DC5FC99DD}"/>
              </a:ext>
              <a:ext uri="{C183D7F6-B498-43B3-948B-1728B52AA6E4}">
                <adec:decorative xmlns:adec="http://schemas.microsoft.com/office/drawing/2017/decorative" val="1"/>
              </a:ext>
            </a:extLst>
          </p:cNvPr>
          <p:cNvGrpSpPr/>
          <p:nvPr/>
        </p:nvGrpSpPr>
        <p:grpSpPr>
          <a:xfrm>
            <a:off x="289678" y="1950506"/>
            <a:ext cx="667934" cy="657150"/>
            <a:chOff x="318768" y="1982123"/>
            <a:chExt cx="644215" cy="657150"/>
          </a:xfrm>
        </p:grpSpPr>
        <p:sp>
          <p:nvSpPr>
            <p:cNvPr id="28" name="Freeform: Shape 27">
              <a:extLst>
                <a:ext uri="{FF2B5EF4-FFF2-40B4-BE49-F238E27FC236}">
                  <a16:creationId xmlns:a16="http://schemas.microsoft.com/office/drawing/2014/main" id="{E33283ED-2FA6-C9D0-471E-54E9A2C656E3}"/>
                </a:ext>
              </a:extLst>
            </p:cNvPr>
            <p:cNvSpPr/>
            <p:nvPr/>
          </p:nvSpPr>
          <p:spPr>
            <a:xfrm rot="338462" flipH="1">
              <a:off x="420931" y="2059705"/>
              <a:ext cx="458498" cy="464645"/>
            </a:xfrm>
            <a:custGeom>
              <a:avLst/>
              <a:gdLst>
                <a:gd name="connsiteX0" fmla="*/ 355308 w 396032"/>
                <a:gd name="connsiteY0" fmla="*/ 339484 h 386549"/>
                <a:gd name="connsiteX1" fmla="*/ 215138 w 396032"/>
                <a:gd name="connsiteY1" fmla="*/ 386550 h 386549"/>
                <a:gd name="connsiteX2" fmla="*/ 0 w 396032"/>
                <a:gd name="connsiteY2" fmla="*/ 180291 h 386549"/>
                <a:gd name="connsiteX3" fmla="*/ 199296 w 396032"/>
                <a:gd name="connsiteY3" fmla="*/ 0 h 386549"/>
                <a:gd name="connsiteX4" fmla="*/ 346751 w 396032"/>
                <a:gd name="connsiteY4" fmla="*/ 55414 h 386549"/>
                <a:gd name="connsiteX5" fmla="*/ 395610 w 396032"/>
                <a:gd name="connsiteY5" fmla="*/ 181168 h 386549"/>
                <a:gd name="connsiteX6" fmla="*/ 395783 w 396032"/>
                <a:gd name="connsiteY6" fmla="*/ 200824 h 386549"/>
                <a:gd name="connsiteX7" fmla="*/ 355308 w 396032"/>
                <a:gd name="connsiteY7" fmla="*/ 339484 h 38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032" h="386549">
                  <a:moveTo>
                    <a:pt x="355308" y="339484"/>
                  </a:moveTo>
                  <a:cubicBezTo>
                    <a:pt x="324190" y="371122"/>
                    <a:pt x="278362" y="386550"/>
                    <a:pt x="215138" y="386550"/>
                  </a:cubicBezTo>
                  <a:cubicBezTo>
                    <a:pt x="78422" y="386550"/>
                    <a:pt x="0" y="311386"/>
                    <a:pt x="0" y="180291"/>
                  </a:cubicBezTo>
                  <a:cubicBezTo>
                    <a:pt x="0" y="75838"/>
                    <a:pt x="83807" y="0"/>
                    <a:pt x="199296" y="0"/>
                  </a:cubicBezTo>
                  <a:cubicBezTo>
                    <a:pt x="259820" y="0"/>
                    <a:pt x="310782" y="19155"/>
                    <a:pt x="346751" y="55414"/>
                  </a:cubicBezTo>
                  <a:cubicBezTo>
                    <a:pt x="379266" y="88227"/>
                    <a:pt x="396159" y="131721"/>
                    <a:pt x="395610" y="181168"/>
                  </a:cubicBezTo>
                  <a:cubicBezTo>
                    <a:pt x="395531" y="187339"/>
                    <a:pt x="395657" y="193901"/>
                    <a:pt x="395783" y="200824"/>
                  </a:cubicBezTo>
                  <a:cubicBezTo>
                    <a:pt x="396630" y="241124"/>
                    <a:pt x="397714" y="296287"/>
                    <a:pt x="355308" y="339484"/>
                  </a:cubicBezTo>
                  <a:close/>
                </a:path>
              </a:pathLst>
            </a:custGeom>
            <a:solidFill>
              <a:schemeClr val="bg1">
                <a:alpha val="7000"/>
              </a:schemeClr>
            </a:solidFill>
            <a:ln w="1557"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19F54194-5B8C-412B-C4FD-D1DA2A549CBF}"/>
                </a:ext>
              </a:extLst>
            </p:cNvPr>
            <p:cNvSpPr/>
            <p:nvPr/>
          </p:nvSpPr>
          <p:spPr>
            <a:xfrm rot="19699057" flipH="1">
              <a:off x="318768" y="1982123"/>
              <a:ext cx="644215" cy="657150"/>
            </a:xfrm>
            <a:custGeom>
              <a:avLst/>
              <a:gdLst>
                <a:gd name="connsiteX0" fmla="*/ 276870 w 644215"/>
                <a:gd name="connsiteY0" fmla="*/ 657151 h 657150"/>
                <a:gd name="connsiteX1" fmla="*/ 66144 w 644215"/>
                <a:gd name="connsiteY1" fmla="*/ 535578 h 657150"/>
                <a:gd name="connsiteX2" fmla="*/ 0 w 644215"/>
                <a:gd name="connsiteY2" fmla="*/ 365844 h 657150"/>
                <a:gd name="connsiteX3" fmla="*/ 44902 w 644215"/>
                <a:gd name="connsiteY3" fmla="*/ 162420 h 657150"/>
                <a:gd name="connsiteX4" fmla="*/ 154928 w 644215"/>
                <a:gd name="connsiteY4" fmla="*/ 48381 h 657150"/>
                <a:gd name="connsiteX5" fmla="*/ 360850 w 644215"/>
                <a:gd name="connsiteY5" fmla="*/ 0 h 657150"/>
                <a:gd name="connsiteX6" fmla="*/ 589160 w 644215"/>
                <a:gd name="connsiteY6" fmla="*/ 145865 h 657150"/>
                <a:gd name="connsiteX7" fmla="*/ 589615 w 644215"/>
                <a:gd name="connsiteY7" fmla="*/ 146773 h 657150"/>
                <a:gd name="connsiteX8" fmla="*/ 638945 w 644215"/>
                <a:gd name="connsiteY8" fmla="*/ 385657 h 657150"/>
                <a:gd name="connsiteX9" fmla="*/ 517615 w 644215"/>
                <a:gd name="connsiteY9" fmla="*/ 552212 h 657150"/>
                <a:gd name="connsiteX10" fmla="*/ 276870 w 644215"/>
                <a:gd name="connsiteY10" fmla="*/ 657151 h 657150"/>
                <a:gd name="connsiteX11" fmla="*/ 360850 w 644215"/>
                <a:gd name="connsiteY11" fmla="*/ 70685 h 657150"/>
                <a:gd name="connsiteX12" fmla="*/ 70854 w 644215"/>
                <a:gd name="connsiteY12" fmla="*/ 365844 h 657150"/>
                <a:gd name="connsiteX13" fmla="*/ 124125 w 644215"/>
                <a:gd name="connsiteY13" fmla="*/ 494934 h 657150"/>
                <a:gd name="connsiteX14" fmla="*/ 276870 w 644215"/>
                <a:gd name="connsiteY14" fmla="*/ 586450 h 657150"/>
                <a:gd name="connsiteX15" fmla="*/ 570901 w 644215"/>
                <a:gd name="connsiteY15" fmla="*/ 365922 h 657150"/>
                <a:gd name="connsiteX16" fmla="*/ 526046 w 644215"/>
                <a:gd name="connsiteY16" fmla="*/ 178004 h 657150"/>
                <a:gd name="connsiteX17" fmla="*/ 482321 w 644215"/>
                <a:gd name="connsiteY17" fmla="*/ 122653 h 657150"/>
                <a:gd name="connsiteX18" fmla="*/ 360866 w 644215"/>
                <a:gd name="connsiteY18" fmla="*/ 70685 h 6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215" h="657150">
                  <a:moveTo>
                    <a:pt x="276870" y="657151"/>
                  </a:moveTo>
                  <a:cubicBezTo>
                    <a:pt x="173438" y="657151"/>
                    <a:pt x="105190" y="591039"/>
                    <a:pt x="66144" y="535578"/>
                  </a:cubicBezTo>
                  <a:cubicBezTo>
                    <a:pt x="22718" y="473900"/>
                    <a:pt x="0" y="403512"/>
                    <a:pt x="0" y="365844"/>
                  </a:cubicBezTo>
                  <a:cubicBezTo>
                    <a:pt x="0" y="336132"/>
                    <a:pt x="0" y="245744"/>
                    <a:pt x="44902" y="162420"/>
                  </a:cubicBezTo>
                  <a:cubicBezTo>
                    <a:pt x="71043" y="113898"/>
                    <a:pt x="108063" y="75524"/>
                    <a:pt x="154928" y="48381"/>
                  </a:cubicBezTo>
                  <a:cubicBezTo>
                    <a:pt x="210334" y="16273"/>
                    <a:pt x="279618" y="0"/>
                    <a:pt x="360850" y="0"/>
                  </a:cubicBezTo>
                  <a:cubicBezTo>
                    <a:pt x="511916" y="0"/>
                    <a:pt x="586083" y="139913"/>
                    <a:pt x="589160" y="145865"/>
                  </a:cubicBezTo>
                  <a:lnTo>
                    <a:pt x="589615" y="146773"/>
                  </a:lnTo>
                  <a:cubicBezTo>
                    <a:pt x="597198" y="162514"/>
                    <a:pt x="663029" y="302991"/>
                    <a:pt x="638945" y="385657"/>
                  </a:cubicBezTo>
                  <a:cubicBezTo>
                    <a:pt x="625145" y="433036"/>
                    <a:pt x="576380" y="499962"/>
                    <a:pt x="517615" y="552212"/>
                  </a:cubicBezTo>
                  <a:cubicBezTo>
                    <a:pt x="463764" y="600092"/>
                    <a:pt x="378293" y="657151"/>
                    <a:pt x="276870" y="657151"/>
                  </a:cubicBezTo>
                  <a:close/>
                  <a:moveTo>
                    <a:pt x="360850" y="70685"/>
                  </a:moveTo>
                  <a:cubicBezTo>
                    <a:pt x="121173" y="70685"/>
                    <a:pt x="70854" y="231194"/>
                    <a:pt x="70854" y="365844"/>
                  </a:cubicBezTo>
                  <a:cubicBezTo>
                    <a:pt x="70854" y="384482"/>
                    <a:pt x="86476" y="441478"/>
                    <a:pt x="124125" y="494934"/>
                  </a:cubicBezTo>
                  <a:cubicBezTo>
                    <a:pt x="153515" y="536675"/>
                    <a:pt x="203881" y="586450"/>
                    <a:pt x="276870" y="586450"/>
                  </a:cubicBezTo>
                  <a:cubicBezTo>
                    <a:pt x="425157" y="586450"/>
                    <a:pt x="554903" y="420819"/>
                    <a:pt x="570901" y="365922"/>
                  </a:cubicBezTo>
                  <a:cubicBezTo>
                    <a:pt x="583351" y="323211"/>
                    <a:pt x="550114" y="228296"/>
                    <a:pt x="526046" y="178004"/>
                  </a:cubicBezTo>
                  <a:cubicBezTo>
                    <a:pt x="524366" y="174934"/>
                    <a:pt x="509482" y="148433"/>
                    <a:pt x="482321" y="122653"/>
                  </a:cubicBezTo>
                  <a:cubicBezTo>
                    <a:pt x="445976" y="88180"/>
                    <a:pt x="405108" y="70685"/>
                    <a:pt x="360866" y="70685"/>
                  </a:cubicBezTo>
                  <a:close/>
                </a:path>
              </a:pathLst>
            </a:custGeom>
            <a:solidFill>
              <a:schemeClr val="bg1">
                <a:alpha val="7000"/>
              </a:schemeClr>
            </a:solidFill>
            <a:ln w="25400" cap="flat">
              <a:solidFill>
                <a:schemeClr val="bg2"/>
              </a:solidFill>
              <a:prstDash val="solid"/>
              <a:miter/>
            </a:ln>
          </p:spPr>
          <p:txBody>
            <a:bodyPr rtlCol="0" anchor="ctr"/>
            <a:lstStyle/>
            <a:p>
              <a:endParaRPr lang="en-AU"/>
            </a:p>
          </p:txBody>
        </p:sp>
      </p:grpSp>
      <p:grpSp>
        <p:nvGrpSpPr>
          <p:cNvPr id="31" name="Group 30">
            <a:extLst>
              <a:ext uri="{FF2B5EF4-FFF2-40B4-BE49-F238E27FC236}">
                <a16:creationId xmlns:a16="http://schemas.microsoft.com/office/drawing/2014/main" id="{147E3C45-4BC0-24D8-CEB0-E13AFD8FF678}"/>
              </a:ext>
              <a:ext uri="{C183D7F6-B498-43B3-948B-1728B52AA6E4}">
                <adec:decorative xmlns:adec="http://schemas.microsoft.com/office/drawing/2017/decorative" val="1"/>
              </a:ext>
            </a:extLst>
          </p:cNvPr>
          <p:cNvGrpSpPr/>
          <p:nvPr/>
        </p:nvGrpSpPr>
        <p:grpSpPr>
          <a:xfrm rot="19878263">
            <a:off x="289678" y="2634508"/>
            <a:ext cx="644215" cy="657150"/>
            <a:chOff x="318768" y="1982123"/>
            <a:chExt cx="644215" cy="657150"/>
          </a:xfrm>
        </p:grpSpPr>
        <p:sp>
          <p:nvSpPr>
            <p:cNvPr id="35" name="Freeform: Shape 34">
              <a:extLst>
                <a:ext uri="{FF2B5EF4-FFF2-40B4-BE49-F238E27FC236}">
                  <a16:creationId xmlns:a16="http://schemas.microsoft.com/office/drawing/2014/main" id="{05541744-ABF7-EBB5-52B8-19601774AA62}"/>
                </a:ext>
              </a:extLst>
            </p:cNvPr>
            <p:cNvSpPr/>
            <p:nvPr/>
          </p:nvSpPr>
          <p:spPr>
            <a:xfrm rot="338462" flipH="1">
              <a:off x="420931" y="2059705"/>
              <a:ext cx="458498" cy="464645"/>
            </a:xfrm>
            <a:custGeom>
              <a:avLst/>
              <a:gdLst>
                <a:gd name="connsiteX0" fmla="*/ 355308 w 396032"/>
                <a:gd name="connsiteY0" fmla="*/ 339484 h 386549"/>
                <a:gd name="connsiteX1" fmla="*/ 215138 w 396032"/>
                <a:gd name="connsiteY1" fmla="*/ 386550 h 386549"/>
                <a:gd name="connsiteX2" fmla="*/ 0 w 396032"/>
                <a:gd name="connsiteY2" fmla="*/ 180291 h 386549"/>
                <a:gd name="connsiteX3" fmla="*/ 199296 w 396032"/>
                <a:gd name="connsiteY3" fmla="*/ 0 h 386549"/>
                <a:gd name="connsiteX4" fmla="*/ 346751 w 396032"/>
                <a:gd name="connsiteY4" fmla="*/ 55414 h 386549"/>
                <a:gd name="connsiteX5" fmla="*/ 395610 w 396032"/>
                <a:gd name="connsiteY5" fmla="*/ 181168 h 386549"/>
                <a:gd name="connsiteX6" fmla="*/ 395783 w 396032"/>
                <a:gd name="connsiteY6" fmla="*/ 200824 h 386549"/>
                <a:gd name="connsiteX7" fmla="*/ 355308 w 396032"/>
                <a:gd name="connsiteY7" fmla="*/ 339484 h 38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032" h="386549">
                  <a:moveTo>
                    <a:pt x="355308" y="339484"/>
                  </a:moveTo>
                  <a:cubicBezTo>
                    <a:pt x="324190" y="371122"/>
                    <a:pt x="278362" y="386550"/>
                    <a:pt x="215138" y="386550"/>
                  </a:cubicBezTo>
                  <a:cubicBezTo>
                    <a:pt x="78422" y="386550"/>
                    <a:pt x="0" y="311386"/>
                    <a:pt x="0" y="180291"/>
                  </a:cubicBezTo>
                  <a:cubicBezTo>
                    <a:pt x="0" y="75838"/>
                    <a:pt x="83807" y="0"/>
                    <a:pt x="199296" y="0"/>
                  </a:cubicBezTo>
                  <a:cubicBezTo>
                    <a:pt x="259820" y="0"/>
                    <a:pt x="310782" y="19155"/>
                    <a:pt x="346751" y="55414"/>
                  </a:cubicBezTo>
                  <a:cubicBezTo>
                    <a:pt x="379266" y="88227"/>
                    <a:pt x="396159" y="131721"/>
                    <a:pt x="395610" y="181168"/>
                  </a:cubicBezTo>
                  <a:cubicBezTo>
                    <a:pt x="395531" y="187339"/>
                    <a:pt x="395657" y="193901"/>
                    <a:pt x="395783" y="200824"/>
                  </a:cubicBezTo>
                  <a:cubicBezTo>
                    <a:pt x="396630" y="241124"/>
                    <a:pt x="397714" y="296287"/>
                    <a:pt x="355308" y="339484"/>
                  </a:cubicBezTo>
                  <a:close/>
                </a:path>
              </a:pathLst>
            </a:custGeom>
            <a:solidFill>
              <a:schemeClr val="bg1">
                <a:alpha val="7000"/>
              </a:schemeClr>
            </a:solidFill>
            <a:ln w="1557"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FA66442E-8BA6-4A6A-15B9-56E674C82718}"/>
                </a:ext>
              </a:extLst>
            </p:cNvPr>
            <p:cNvSpPr/>
            <p:nvPr/>
          </p:nvSpPr>
          <p:spPr>
            <a:xfrm rot="19699057" flipH="1">
              <a:off x="318768" y="1982123"/>
              <a:ext cx="644215" cy="657150"/>
            </a:xfrm>
            <a:custGeom>
              <a:avLst/>
              <a:gdLst>
                <a:gd name="connsiteX0" fmla="*/ 276870 w 644215"/>
                <a:gd name="connsiteY0" fmla="*/ 657151 h 657150"/>
                <a:gd name="connsiteX1" fmla="*/ 66144 w 644215"/>
                <a:gd name="connsiteY1" fmla="*/ 535578 h 657150"/>
                <a:gd name="connsiteX2" fmla="*/ 0 w 644215"/>
                <a:gd name="connsiteY2" fmla="*/ 365844 h 657150"/>
                <a:gd name="connsiteX3" fmla="*/ 44902 w 644215"/>
                <a:gd name="connsiteY3" fmla="*/ 162420 h 657150"/>
                <a:gd name="connsiteX4" fmla="*/ 154928 w 644215"/>
                <a:gd name="connsiteY4" fmla="*/ 48381 h 657150"/>
                <a:gd name="connsiteX5" fmla="*/ 360850 w 644215"/>
                <a:gd name="connsiteY5" fmla="*/ 0 h 657150"/>
                <a:gd name="connsiteX6" fmla="*/ 589160 w 644215"/>
                <a:gd name="connsiteY6" fmla="*/ 145865 h 657150"/>
                <a:gd name="connsiteX7" fmla="*/ 589615 w 644215"/>
                <a:gd name="connsiteY7" fmla="*/ 146773 h 657150"/>
                <a:gd name="connsiteX8" fmla="*/ 638945 w 644215"/>
                <a:gd name="connsiteY8" fmla="*/ 385657 h 657150"/>
                <a:gd name="connsiteX9" fmla="*/ 517615 w 644215"/>
                <a:gd name="connsiteY9" fmla="*/ 552212 h 657150"/>
                <a:gd name="connsiteX10" fmla="*/ 276870 w 644215"/>
                <a:gd name="connsiteY10" fmla="*/ 657151 h 657150"/>
                <a:gd name="connsiteX11" fmla="*/ 360850 w 644215"/>
                <a:gd name="connsiteY11" fmla="*/ 70685 h 657150"/>
                <a:gd name="connsiteX12" fmla="*/ 70854 w 644215"/>
                <a:gd name="connsiteY12" fmla="*/ 365844 h 657150"/>
                <a:gd name="connsiteX13" fmla="*/ 124125 w 644215"/>
                <a:gd name="connsiteY13" fmla="*/ 494934 h 657150"/>
                <a:gd name="connsiteX14" fmla="*/ 276870 w 644215"/>
                <a:gd name="connsiteY14" fmla="*/ 586450 h 657150"/>
                <a:gd name="connsiteX15" fmla="*/ 570901 w 644215"/>
                <a:gd name="connsiteY15" fmla="*/ 365922 h 657150"/>
                <a:gd name="connsiteX16" fmla="*/ 526046 w 644215"/>
                <a:gd name="connsiteY16" fmla="*/ 178004 h 657150"/>
                <a:gd name="connsiteX17" fmla="*/ 482321 w 644215"/>
                <a:gd name="connsiteY17" fmla="*/ 122653 h 657150"/>
                <a:gd name="connsiteX18" fmla="*/ 360866 w 644215"/>
                <a:gd name="connsiteY18" fmla="*/ 70685 h 6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215" h="657150">
                  <a:moveTo>
                    <a:pt x="276870" y="657151"/>
                  </a:moveTo>
                  <a:cubicBezTo>
                    <a:pt x="173438" y="657151"/>
                    <a:pt x="105190" y="591039"/>
                    <a:pt x="66144" y="535578"/>
                  </a:cubicBezTo>
                  <a:cubicBezTo>
                    <a:pt x="22718" y="473900"/>
                    <a:pt x="0" y="403512"/>
                    <a:pt x="0" y="365844"/>
                  </a:cubicBezTo>
                  <a:cubicBezTo>
                    <a:pt x="0" y="336132"/>
                    <a:pt x="0" y="245744"/>
                    <a:pt x="44902" y="162420"/>
                  </a:cubicBezTo>
                  <a:cubicBezTo>
                    <a:pt x="71043" y="113898"/>
                    <a:pt x="108063" y="75524"/>
                    <a:pt x="154928" y="48381"/>
                  </a:cubicBezTo>
                  <a:cubicBezTo>
                    <a:pt x="210334" y="16273"/>
                    <a:pt x="279618" y="0"/>
                    <a:pt x="360850" y="0"/>
                  </a:cubicBezTo>
                  <a:cubicBezTo>
                    <a:pt x="511916" y="0"/>
                    <a:pt x="586083" y="139913"/>
                    <a:pt x="589160" y="145865"/>
                  </a:cubicBezTo>
                  <a:lnTo>
                    <a:pt x="589615" y="146773"/>
                  </a:lnTo>
                  <a:cubicBezTo>
                    <a:pt x="597198" y="162514"/>
                    <a:pt x="663029" y="302991"/>
                    <a:pt x="638945" y="385657"/>
                  </a:cubicBezTo>
                  <a:cubicBezTo>
                    <a:pt x="625145" y="433036"/>
                    <a:pt x="576380" y="499962"/>
                    <a:pt x="517615" y="552212"/>
                  </a:cubicBezTo>
                  <a:cubicBezTo>
                    <a:pt x="463764" y="600092"/>
                    <a:pt x="378293" y="657151"/>
                    <a:pt x="276870" y="657151"/>
                  </a:cubicBezTo>
                  <a:close/>
                  <a:moveTo>
                    <a:pt x="360850" y="70685"/>
                  </a:moveTo>
                  <a:cubicBezTo>
                    <a:pt x="121173" y="70685"/>
                    <a:pt x="70854" y="231194"/>
                    <a:pt x="70854" y="365844"/>
                  </a:cubicBezTo>
                  <a:cubicBezTo>
                    <a:pt x="70854" y="384482"/>
                    <a:pt x="86476" y="441478"/>
                    <a:pt x="124125" y="494934"/>
                  </a:cubicBezTo>
                  <a:cubicBezTo>
                    <a:pt x="153515" y="536675"/>
                    <a:pt x="203881" y="586450"/>
                    <a:pt x="276870" y="586450"/>
                  </a:cubicBezTo>
                  <a:cubicBezTo>
                    <a:pt x="425157" y="586450"/>
                    <a:pt x="554903" y="420819"/>
                    <a:pt x="570901" y="365922"/>
                  </a:cubicBezTo>
                  <a:cubicBezTo>
                    <a:pt x="583351" y="323211"/>
                    <a:pt x="550114" y="228296"/>
                    <a:pt x="526046" y="178004"/>
                  </a:cubicBezTo>
                  <a:cubicBezTo>
                    <a:pt x="524366" y="174934"/>
                    <a:pt x="509482" y="148433"/>
                    <a:pt x="482321" y="122653"/>
                  </a:cubicBezTo>
                  <a:cubicBezTo>
                    <a:pt x="445976" y="88180"/>
                    <a:pt x="405108" y="70685"/>
                    <a:pt x="360866" y="70685"/>
                  </a:cubicBezTo>
                  <a:close/>
                </a:path>
              </a:pathLst>
            </a:custGeom>
            <a:solidFill>
              <a:schemeClr val="bg1">
                <a:alpha val="7000"/>
              </a:schemeClr>
            </a:solidFill>
            <a:ln w="25400" cap="flat">
              <a:solidFill>
                <a:schemeClr val="bg2"/>
              </a:solidFill>
              <a:prstDash val="solid"/>
              <a:miter/>
            </a:ln>
          </p:spPr>
          <p:txBody>
            <a:bodyPr rtlCol="0" anchor="ctr"/>
            <a:lstStyle/>
            <a:p>
              <a:endParaRPr lang="en-AU"/>
            </a:p>
          </p:txBody>
        </p:sp>
      </p:grpSp>
      <p:grpSp>
        <p:nvGrpSpPr>
          <p:cNvPr id="39" name="Group 38">
            <a:extLst>
              <a:ext uri="{FF2B5EF4-FFF2-40B4-BE49-F238E27FC236}">
                <a16:creationId xmlns:a16="http://schemas.microsoft.com/office/drawing/2014/main" id="{2C4C0B4D-6971-53A0-57F5-C16EB5B1EC5B}"/>
              </a:ext>
              <a:ext uri="{C183D7F6-B498-43B3-948B-1728B52AA6E4}">
                <adec:decorative xmlns:adec="http://schemas.microsoft.com/office/drawing/2017/decorative" val="1"/>
              </a:ext>
            </a:extLst>
          </p:cNvPr>
          <p:cNvGrpSpPr/>
          <p:nvPr/>
        </p:nvGrpSpPr>
        <p:grpSpPr>
          <a:xfrm rot="12599345">
            <a:off x="289678" y="3352827"/>
            <a:ext cx="644215" cy="657150"/>
            <a:chOff x="318768" y="1982123"/>
            <a:chExt cx="644215" cy="657150"/>
          </a:xfrm>
        </p:grpSpPr>
        <p:sp>
          <p:nvSpPr>
            <p:cNvPr id="41" name="Freeform: Shape 40">
              <a:extLst>
                <a:ext uri="{FF2B5EF4-FFF2-40B4-BE49-F238E27FC236}">
                  <a16:creationId xmlns:a16="http://schemas.microsoft.com/office/drawing/2014/main" id="{B0D9F870-106B-E210-C951-CCBAEF59D26D}"/>
                </a:ext>
              </a:extLst>
            </p:cNvPr>
            <p:cNvSpPr/>
            <p:nvPr/>
          </p:nvSpPr>
          <p:spPr>
            <a:xfrm rot="338462" flipH="1">
              <a:off x="420931" y="2059705"/>
              <a:ext cx="458498" cy="464645"/>
            </a:xfrm>
            <a:custGeom>
              <a:avLst/>
              <a:gdLst>
                <a:gd name="connsiteX0" fmla="*/ 355308 w 396032"/>
                <a:gd name="connsiteY0" fmla="*/ 339484 h 386549"/>
                <a:gd name="connsiteX1" fmla="*/ 215138 w 396032"/>
                <a:gd name="connsiteY1" fmla="*/ 386550 h 386549"/>
                <a:gd name="connsiteX2" fmla="*/ 0 w 396032"/>
                <a:gd name="connsiteY2" fmla="*/ 180291 h 386549"/>
                <a:gd name="connsiteX3" fmla="*/ 199296 w 396032"/>
                <a:gd name="connsiteY3" fmla="*/ 0 h 386549"/>
                <a:gd name="connsiteX4" fmla="*/ 346751 w 396032"/>
                <a:gd name="connsiteY4" fmla="*/ 55414 h 386549"/>
                <a:gd name="connsiteX5" fmla="*/ 395610 w 396032"/>
                <a:gd name="connsiteY5" fmla="*/ 181168 h 386549"/>
                <a:gd name="connsiteX6" fmla="*/ 395783 w 396032"/>
                <a:gd name="connsiteY6" fmla="*/ 200824 h 386549"/>
                <a:gd name="connsiteX7" fmla="*/ 355308 w 396032"/>
                <a:gd name="connsiteY7" fmla="*/ 339484 h 38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032" h="386549">
                  <a:moveTo>
                    <a:pt x="355308" y="339484"/>
                  </a:moveTo>
                  <a:cubicBezTo>
                    <a:pt x="324190" y="371122"/>
                    <a:pt x="278362" y="386550"/>
                    <a:pt x="215138" y="386550"/>
                  </a:cubicBezTo>
                  <a:cubicBezTo>
                    <a:pt x="78422" y="386550"/>
                    <a:pt x="0" y="311386"/>
                    <a:pt x="0" y="180291"/>
                  </a:cubicBezTo>
                  <a:cubicBezTo>
                    <a:pt x="0" y="75838"/>
                    <a:pt x="83807" y="0"/>
                    <a:pt x="199296" y="0"/>
                  </a:cubicBezTo>
                  <a:cubicBezTo>
                    <a:pt x="259820" y="0"/>
                    <a:pt x="310782" y="19155"/>
                    <a:pt x="346751" y="55414"/>
                  </a:cubicBezTo>
                  <a:cubicBezTo>
                    <a:pt x="379266" y="88227"/>
                    <a:pt x="396159" y="131721"/>
                    <a:pt x="395610" y="181168"/>
                  </a:cubicBezTo>
                  <a:cubicBezTo>
                    <a:pt x="395531" y="187339"/>
                    <a:pt x="395657" y="193901"/>
                    <a:pt x="395783" y="200824"/>
                  </a:cubicBezTo>
                  <a:cubicBezTo>
                    <a:pt x="396630" y="241124"/>
                    <a:pt x="397714" y="296287"/>
                    <a:pt x="355308" y="339484"/>
                  </a:cubicBezTo>
                  <a:close/>
                </a:path>
              </a:pathLst>
            </a:custGeom>
            <a:solidFill>
              <a:schemeClr val="bg1">
                <a:alpha val="7000"/>
              </a:schemeClr>
            </a:solidFill>
            <a:ln w="1557"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88318B4C-36EF-2D2B-ABA2-8EFE38258F79}"/>
                </a:ext>
              </a:extLst>
            </p:cNvPr>
            <p:cNvSpPr/>
            <p:nvPr/>
          </p:nvSpPr>
          <p:spPr>
            <a:xfrm rot="19699057" flipH="1">
              <a:off x="318768" y="1982123"/>
              <a:ext cx="644215" cy="657150"/>
            </a:xfrm>
            <a:custGeom>
              <a:avLst/>
              <a:gdLst>
                <a:gd name="connsiteX0" fmla="*/ 276870 w 644215"/>
                <a:gd name="connsiteY0" fmla="*/ 657151 h 657150"/>
                <a:gd name="connsiteX1" fmla="*/ 66144 w 644215"/>
                <a:gd name="connsiteY1" fmla="*/ 535578 h 657150"/>
                <a:gd name="connsiteX2" fmla="*/ 0 w 644215"/>
                <a:gd name="connsiteY2" fmla="*/ 365844 h 657150"/>
                <a:gd name="connsiteX3" fmla="*/ 44902 w 644215"/>
                <a:gd name="connsiteY3" fmla="*/ 162420 h 657150"/>
                <a:gd name="connsiteX4" fmla="*/ 154928 w 644215"/>
                <a:gd name="connsiteY4" fmla="*/ 48381 h 657150"/>
                <a:gd name="connsiteX5" fmla="*/ 360850 w 644215"/>
                <a:gd name="connsiteY5" fmla="*/ 0 h 657150"/>
                <a:gd name="connsiteX6" fmla="*/ 589160 w 644215"/>
                <a:gd name="connsiteY6" fmla="*/ 145865 h 657150"/>
                <a:gd name="connsiteX7" fmla="*/ 589615 w 644215"/>
                <a:gd name="connsiteY7" fmla="*/ 146773 h 657150"/>
                <a:gd name="connsiteX8" fmla="*/ 638945 w 644215"/>
                <a:gd name="connsiteY8" fmla="*/ 385657 h 657150"/>
                <a:gd name="connsiteX9" fmla="*/ 517615 w 644215"/>
                <a:gd name="connsiteY9" fmla="*/ 552212 h 657150"/>
                <a:gd name="connsiteX10" fmla="*/ 276870 w 644215"/>
                <a:gd name="connsiteY10" fmla="*/ 657151 h 657150"/>
                <a:gd name="connsiteX11" fmla="*/ 360850 w 644215"/>
                <a:gd name="connsiteY11" fmla="*/ 70685 h 657150"/>
                <a:gd name="connsiteX12" fmla="*/ 70854 w 644215"/>
                <a:gd name="connsiteY12" fmla="*/ 365844 h 657150"/>
                <a:gd name="connsiteX13" fmla="*/ 124125 w 644215"/>
                <a:gd name="connsiteY13" fmla="*/ 494934 h 657150"/>
                <a:gd name="connsiteX14" fmla="*/ 276870 w 644215"/>
                <a:gd name="connsiteY14" fmla="*/ 586450 h 657150"/>
                <a:gd name="connsiteX15" fmla="*/ 570901 w 644215"/>
                <a:gd name="connsiteY15" fmla="*/ 365922 h 657150"/>
                <a:gd name="connsiteX16" fmla="*/ 526046 w 644215"/>
                <a:gd name="connsiteY16" fmla="*/ 178004 h 657150"/>
                <a:gd name="connsiteX17" fmla="*/ 482321 w 644215"/>
                <a:gd name="connsiteY17" fmla="*/ 122653 h 657150"/>
                <a:gd name="connsiteX18" fmla="*/ 360866 w 644215"/>
                <a:gd name="connsiteY18" fmla="*/ 70685 h 6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215" h="657150">
                  <a:moveTo>
                    <a:pt x="276870" y="657151"/>
                  </a:moveTo>
                  <a:cubicBezTo>
                    <a:pt x="173438" y="657151"/>
                    <a:pt x="105190" y="591039"/>
                    <a:pt x="66144" y="535578"/>
                  </a:cubicBezTo>
                  <a:cubicBezTo>
                    <a:pt x="22718" y="473900"/>
                    <a:pt x="0" y="403512"/>
                    <a:pt x="0" y="365844"/>
                  </a:cubicBezTo>
                  <a:cubicBezTo>
                    <a:pt x="0" y="336132"/>
                    <a:pt x="0" y="245744"/>
                    <a:pt x="44902" y="162420"/>
                  </a:cubicBezTo>
                  <a:cubicBezTo>
                    <a:pt x="71043" y="113898"/>
                    <a:pt x="108063" y="75524"/>
                    <a:pt x="154928" y="48381"/>
                  </a:cubicBezTo>
                  <a:cubicBezTo>
                    <a:pt x="210334" y="16273"/>
                    <a:pt x="279618" y="0"/>
                    <a:pt x="360850" y="0"/>
                  </a:cubicBezTo>
                  <a:cubicBezTo>
                    <a:pt x="511916" y="0"/>
                    <a:pt x="586083" y="139913"/>
                    <a:pt x="589160" y="145865"/>
                  </a:cubicBezTo>
                  <a:lnTo>
                    <a:pt x="589615" y="146773"/>
                  </a:lnTo>
                  <a:cubicBezTo>
                    <a:pt x="597198" y="162514"/>
                    <a:pt x="663029" y="302991"/>
                    <a:pt x="638945" y="385657"/>
                  </a:cubicBezTo>
                  <a:cubicBezTo>
                    <a:pt x="625145" y="433036"/>
                    <a:pt x="576380" y="499962"/>
                    <a:pt x="517615" y="552212"/>
                  </a:cubicBezTo>
                  <a:cubicBezTo>
                    <a:pt x="463764" y="600092"/>
                    <a:pt x="378293" y="657151"/>
                    <a:pt x="276870" y="657151"/>
                  </a:cubicBezTo>
                  <a:close/>
                  <a:moveTo>
                    <a:pt x="360850" y="70685"/>
                  </a:moveTo>
                  <a:cubicBezTo>
                    <a:pt x="121173" y="70685"/>
                    <a:pt x="70854" y="231194"/>
                    <a:pt x="70854" y="365844"/>
                  </a:cubicBezTo>
                  <a:cubicBezTo>
                    <a:pt x="70854" y="384482"/>
                    <a:pt x="86476" y="441478"/>
                    <a:pt x="124125" y="494934"/>
                  </a:cubicBezTo>
                  <a:cubicBezTo>
                    <a:pt x="153515" y="536675"/>
                    <a:pt x="203881" y="586450"/>
                    <a:pt x="276870" y="586450"/>
                  </a:cubicBezTo>
                  <a:cubicBezTo>
                    <a:pt x="425157" y="586450"/>
                    <a:pt x="554903" y="420819"/>
                    <a:pt x="570901" y="365922"/>
                  </a:cubicBezTo>
                  <a:cubicBezTo>
                    <a:pt x="583351" y="323211"/>
                    <a:pt x="550114" y="228296"/>
                    <a:pt x="526046" y="178004"/>
                  </a:cubicBezTo>
                  <a:cubicBezTo>
                    <a:pt x="524366" y="174934"/>
                    <a:pt x="509482" y="148433"/>
                    <a:pt x="482321" y="122653"/>
                  </a:cubicBezTo>
                  <a:cubicBezTo>
                    <a:pt x="445976" y="88180"/>
                    <a:pt x="405108" y="70685"/>
                    <a:pt x="360866" y="70685"/>
                  </a:cubicBezTo>
                  <a:close/>
                </a:path>
              </a:pathLst>
            </a:custGeom>
            <a:solidFill>
              <a:schemeClr val="bg1">
                <a:alpha val="7000"/>
              </a:schemeClr>
            </a:solidFill>
            <a:ln w="25400" cap="flat">
              <a:solidFill>
                <a:schemeClr val="bg2"/>
              </a:solidFill>
              <a:prstDash val="solid"/>
              <a:miter/>
            </a:ln>
          </p:spPr>
          <p:txBody>
            <a:bodyPr rtlCol="0" anchor="ctr"/>
            <a:lstStyle/>
            <a:p>
              <a:endParaRPr lang="en-AU"/>
            </a:p>
          </p:txBody>
        </p:sp>
      </p:grpSp>
      <p:grpSp>
        <p:nvGrpSpPr>
          <p:cNvPr id="44" name="Group 43">
            <a:extLst>
              <a:ext uri="{FF2B5EF4-FFF2-40B4-BE49-F238E27FC236}">
                <a16:creationId xmlns:a16="http://schemas.microsoft.com/office/drawing/2014/main" id="{BD834F83-E93C-D314-7489-699FFC84A1C9}"/>
              </a:ext>
              <a:ext uri="{C183D7F6-B498-43B3-948B-1728B52AA6E4}">
                <adec:decorative xmlns:adec="http://schemas.microsoft.com/office/drawing/2017/decorative" val="1"/>
              </a:ext>
            </a:extLst>
          </p:cNvPr>
          <p:cNvGrpSpPr/>
          <p:nvPr/>
        </p:nvGrpSpPr>
        <p:grpSpPr>
          <a:xfrm rot="8504838">
            <a:off x="289678" y="4063249"/>
            <a:ext cx="644215" cy="657150"/>
            <a:chOff x="318768" y="1982123"/>
            <a:chExt cx="644215" cy="657150"/>
          </a:xfrm>
        </p:grpSpPr>
        <p:sp>
          <p:nvSpPr>
            <p:cNvPr id="48" name="Freeform: Shape 47">
              <a:extLst>
                <a:ext uri="{FF2B5EF4-FFF2-40B4-BE49-F238E27FC236}">
                  <a16:creationId xmlns:a16="http://schemas.microsoft.com/office/drawing/2014/main" id="{B2468978-91D5-C87E-44D8-2CFE5318E957}"/>
                </a:ext>
              </a:extLst>
            </p:cNvPr>
            <p:cNvSpPr/>
            <p:nvPr/>
          </p:nvSpPr>
          <p:spPr>
            <a:xfrm rot="338462" flipH="1">
              <a:off x="420931" y="2059705"/>
              <a:ext cx="458498" cy="464645"/>
            </a:xfrm>
            <a:custGeom>
              <a:avLst/>
              <a:gdLst>
                <a:gd name="connsiteX0" fmla="*/ 355308 w 396032"/>
                <a:gd name="connsiteY0" fmla="*/ 339484 h 386549"/>
                <a:gd name="connsiteX1" fmla="*/ 215138 w 396032"/>
                <a:gd name="connsiteY1" fmla="*/ 386550 h 386549"/>
                <a:gd name="connsiteX2" fmla="*/ 0 w 396032"/>
                <a:gd name="connsiteY2" fmla="*/ 180291 h 386549"/>
                <a:gd name="connsiteX3" fmla="*/ 199296 w 396032"/>
                <a:gd name="connsiteY3" fmla="*/ 0 h 386549"/>
                <a:gd name="connsiteX4" fmla="*/ 346751 w 396032"/>
                <a:gd name="connsiteY4" fmla="*/ 55414 h 386549"/>
                <a:gd name="connsiteX5" fmla="*/ 395610 w 396032"/>
                <a:gd name="connsiteY5" fmla="*/ 181168 h 386549"/>
                <a:gd name="connsiteX6" fmla="*/ 395783 w 396032"/>
                <a:gd name="connsiteY6" fmla="*/ 200824 h 386549"/>
                <a:gd name="connsiteX7" fmla="*/ 355308 w 396032"/>
                <a:gd name="connsiteY7" fmla="*/ 339484 h 38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032" h="386549">
                  <a:moveTo>
                    <a:pt x="355308" y="339484"/>
                  </a:moveTo>
                  <a:cubicBezTo>
                    <a:pt x="324190" y="371122"/>
                    <a:pt x="278362" y="386550"/>
                    <a:pt x="215138" y="386550"/>
                  </a:cubicBezTo>
                  <a:cubicBezTo>
                    <a:pt x="78422" y="386550"/>
                    <a:pt x="0" y="311386"/>
                    <a:pt x="0" y="180291"/>
                  </a:cubicBezTo>
                  <a:cubicBezTo>
                    <a:pt x="0" y="75838"/>
                    <a:pt x="83807" y="0"/>
                    <a:pt x="199296" y="0"/>
                  </a:cubicBezTo>
                  <a:cubicBezTo>
                    <a:pt x="259820" y="0"/>
                    <a:pt x="310782" y="19155"/>
                    <a:pt x="346751" y="55414"/>
                  </a:cubicBezTo>
                  <a:cubicBezTo>
                    <a:pt x="379266" y="88227"/>
                    <a:pt x="396159" y="131721"/>
                    <a:pt x="395610" y="181168"/>
                  </a:cubicBezTo>
                  <a:cubicBezTo>
                    <a:pt x="395531" y="187339"/>
                    <a:pt x="395657" y="193901"/>
                    <a:pt x="395783" y="200824"/>
                  </a:cubicBezTo>
                  <a:cubicBezTo>
                    <a:pt x="396630" y="241124"/>
                    <a:pt x="397714" y="296287"/>
                    <a:pt x="355308" y="339484"/>
                  </a:cubicBezTo>
                  <a:close/>
                </a:path>
              </a:pathLst>
            </a:custGeom>
            <a:solidFill>
              <a:schemeClr val="bg1">
                <a:alpha val="7000"/>
              </a:schemeClr>
            </a:solidFill>
            <a:ln w="1557" cap="flat">
              <a:noFill/>
              <a:prstDash val="solid"/>
              <a:miter/>
            </a:ln>
          </p:spPr>
          <p:txBody>
            <a:bodyPr rtlCol="0" anchor="ctr"/>
            <a:lstStyle/>
            <a:p>
              <a:endParaRPr lang="en-AU"/>
            </a:p>
          </p:txBody>
        </p:sp>
        <p:sp>
          <p:nvSpPr>
            <p:cNvPr id="49" name="Freeform: Shape 48">
              <a:extLst>
                <a:ext uri="{FF2B5EF4-FFF2-40B4-BE49-F238E27FC236}">
                  <a16:creationId xmlns:a16="http://schemas.microsoft.com/office/drawing/2014/main" id="{1F065486-FA75-7156-081A-1608E95D3784}"/>
                </a:ext>
              </a:extLst>
            </p:cNvPr>
            <p:cNvSpPr/>
            <p:nvPr/>
          </p:nvSpPr>
          <p:spPr>
            <a:xfrm rot="19699057" flipH="1">
              <a:off x="318768" y="1982123"/>
              <a:ext cx="644215" cy="657150"/>
            </a:xfrm>
            <a:custGeom>
              <a:avLst/>
              <a:gdLst>
                <a:gd name="connsiteX0" fmla="*/ 276870 w 644215"/>
                <a:gd name="connsiteY0" fmla="*/ 657151 h 657150"/>
                <a:gd name="connsiteX1" fmla="*/ 66144 w 644215"/>
                <a:gd name="connsiteY1" fmla="*/ 535578 h 657150"/>
                <a:gd name="connsiteX2" fmla="*/ 0 w 644215"/>
                <a:gd name="connsiteY2" fmla="*/ 365844 h 657150"/>
                <a:gd name="connsiteX3" fmla="*/ 44902 w 644215"/>
                <a:gd name="connsiteY3" fmla="*/ 162420 h 657150"/>
                <a:gd name="connsiteX4" fmla="*/ 154928 w 644215"/>
                <a:gd name="connsiteY4" fmla="*/ 48381 h 657150"/>
                <a:gd name="connsiteX5" fmla="*/ 360850 w 644215"/>
                <a:gd name="connsiteY5" fmla="*/ 0 h 657150"/>
                <a:gd name="connsiteX6" fmla="*/ 589160 w 644215"/>
                <a:gd name="connsiteY6" fmla="*/ 145865 h 657150"/>
                <a:gd name="connsiteX7" fmla="*/ 589615 w 644215"/>
                <a:gd name="connsiteY7" fmla="*/ 146773 h 657150"/>
                <a:gd name="connsiteX8" fmla="*/ 638945 w 644215"/>
                <a:gd name="connsiteY8" fmla="*/ 385657 h 657150"/>
                <a:gd name="connsiteX9" fmla="*/ 517615 w 644215"/>
                <a:gd name="connsiteY9" fmla="*/ 552212 h 657150"/>
                <a:gd name="connsiteX10" fmla="*/ 276870 w 644215"/>
                <a:gd name="connsiteY10" fmla="*/ 657151 h 657150"/>
                <a:gd name="connsiteX11" fmla="*/ 360850 w 644215"/>
                <a:gd name="connsiteY11" fmla="*/ 70685 h 657150"/>
                <a:gd name="connsiteX12" fmla="*/ 70854 w 644215"/>
                <a:gd name="connsiteY12" fmla="*/ 365844 h 657150"/>
                <a:gd name="connsiteX13" fmla="*/ 124125 w 644215"/>
                <a:gd name="connsiteY13" fmla="*/ 494934 h 657150"/>
                <a:gd name="connsiteX14" fmla="*/ 276870 w 644215"/>
                <a:gd name="connsiteY14" fmla="*/ 586450 h 657150"/>
                <a:gd name="connsiteX15" fmla="*/ 570901 w 644215"/>
                <a:gd name="connsiteY15" fmla="*/ 365922 h 657150"/>
                <a:gd name="connsiteX16" fmla="*/ 526046 w 644215"/>
                <a:gd name="connsiteY16" fmla="*/ 178004 h 657150"/>
                <a:gd name="connsiteX17" fmla="*/ 482321 w 644215"/>
                <a:gd name="connsiteY17" fmla="*/ 122653 h 657150"/>
                <a:gd name="connsiteX18" fmla="*/ 360866 w 644215"/>
                <a:gd name="connsiteY18" fmla="*/ 70685 h 6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215" h="657150">
                  <a:moveTo>
                    <a:pt x="276870" y="657151"/>
                  </a:moveTo>
                  <a:cubicBezTo>
                    <a:pt x="173438" y="657151"/>
                    <a:pt x="105190" y="591039"/>
                    <a:pt x="66144" y="535578"/>
                  </a:cubicBezTo>
                  <a:cubicBezTo>
                    <a:pt x="22718" y="473900"/>
                    <a:pt x="0" y="403512"/>
                    <a:pt x="0" y="365844"/>
                  </a:cubicBezTo>
                  <a:cubicBezTo>
                    <a:pt x="0" y="336132"/>
                    <a:pt x="0" y="245744"/>
                    <a:pt x="44902" y="162420"/>
                  </a:cubicBezTo>
                  <a:cubicBezTo>
                    <a:pt x="71043" y="113898"/>
                    <a:pt x="108063" y="75524"/>
                    <a:pt x="154928" y="48381"/>
                  </a:cubicBezTo>
                  <a:cubicBezTo>
                    <a:pt x="210334" y="16273"/>
                    <a:pt x="279618" y="0"/>
                    <a:pt x="360850" y="0"/>
                  </a:cubicBezTo>
                  <a:cubicBezTo>
                    <a:pt x="511916" y="0"/>
                    <a:pt x="586083" y="139913"/>
                    <a:pt x="589160" y="145865"/>
                  </a:cubicBezTo>
                  <a:lnTo>
                    <a:pt x="589615" y="146773"/>
                  </a:lnTo>
                  <a:cubicBezTo>
                    <a:pt x="597198" y="162514"/>
                    <a:pt x="663029" y="302991"/>
                    <a:pt x="638945" y="385657"/>
                  </a:cubicBezTo>
                  <a:cubicBezTo>
                    <a:pt x="625145" y="433036"/>
                    <a:pt x="576380" y="499962"/>
                    <a:pt x="517615" y="552212"/>
                  </a:cubicBezTo>
                  <a:cubicBezTo>
                    <a:pt x="463764" y="600092"/>
                    <a:pt x="378293" y="657151"/>
                    <a:pt x="276870" y="657151"/>
                  </a:cubicBezTo>
                  <a:close/>
                  <a:moveTo>
                    <a:pt x="360850" y="70685"/>
                  </a:moveTo>
                  <a:cubicBezTo>
                    <a:pt x="121173" y="70685"/>
                    <a:pt x="70854" y="231194"/>
                    <a:pt x="70854" y="365844"/>
                  </a:cubicBezTo>
                  <a:cubicBezTo>
                    <a:pt x="70854" y="384482"/>
                    <a:pt x="86476" y="441478"/>
                    <a:pt x="124125" y="494934"/>
                  </a:cubicBezTo>
                  <a:cubicBezTo>
                    <a:pt x="153515" y="536675"/>
                    <a:pt x="203881" y="586450"/>
                    <a:pt x="276870" y="586450"/>
                  </a:cubicBezTo>
                  <a:cubicBezTo>
                    <a:pt x="425157" y="586450"/>
                    <a:pt x="554903" y="420819"/>
                    <a:pt x="570901" y="365922"/>
                  </a:cubicBezTo>
                  <a:cubicBezTo>
                    <a:pt x="583351" y="323211"/>
                    <a:pt x="550114" y="228296"/>
                    <a:pt x="526046" y="178004"/>
                  </a:cubicBezTo>
                  <a:cubicBezTo>
                    <a:pt x="524366" y="174934"/>
                    <a:pt x="509482" y="148433"/>
                    <a:pt x="482321" y="122653"/>
                  </a:cubicBezTo>
                  <a:cubicBezTo>
                    <a:pt x="445976" y="88180"/>
                    <a:pt x="405108" y="70685"/>
                    <a:pt x="360866" y="70685"/>
                  </a:cubicBezTo>
                  <a:close/>
                </a:path>
              </a:pathLst>
            </a:custGeom>
            <a:solidFill>
              <a:schemeClr val="bg1">
                <a:alpha val="7000"/>
              </a:schemeClr>
            </a:solidFill>
            <a:ln w="25400" cap="flat">
              <a:solidFill>
                <a:schemeClr val="bg2"/>
              </a:solidFill>
              <a:prstDash val="solid"/>
              <a:miter/>
            </a:ln>
          </p:spPr>
          <p:txBody>
            <a:bodyPr rtlCol="0" anchor="ctr"/>
            <a:lstStyle/>
            <a:p>
              <a:endParaRPr lang="en-AU"/>
            </a:p>
          </p:txBody>
        </p:sp>
      </p:grpSp>
      <p:grpSp>
        <p:nvGrpSpPr>
          <p:cNvPr id="52" name="Group 51">
            <a:extLst>
              <a:ext uri="{FF2B5EF4-FFF2-40B4-BE49-F238E27FC236}">
                <a16:creationId xmlns:a16="http://schemas.microsoft.com/office/drawing/2014/main" id="{0E13662E-73A4-926A-B8DD-719B1AB481DD}"/>
              </a:ext>
              <a:ext uri="{C183D7F6-B498-43B3-948B-1728B52AA6E4}">
                <adec:decorative xmlns:adec="http://schemas.microsoft.com/office/drawing/2017/decorative" val="1"/>
              </a:ext>
            </a:extLst>
          </p:cNvPr>
          <p:cNvGrpSpPr/>
          <p:nvPr/>
        </p:nvGrpSpPr>
        <p:grpSpPr>
          <a:xfrm rot="1033818">
            <a:off x="289678" y="4782954"/>
            <a:ext cx="644215" cy="657150"/>
            <a:chOff x="318768" y="1982123"/>
            <a:chExt cx="644215" cy="657150"/>
          </a:xfrm>
        </p:grpSpPr>
        <p:sp>
          <p:nvSpPr>
            <p:cNvPr id="54" name="Freeform: Shape 53">
              <a:extLst>
                <a:ext uri="{FF2B5EF4-FFF2-40B4-BE49-F238E27FC236}">
                  <a16:creationId xmlns:a16="http://schemas.microsoft.com/office/drawing/2014/main" id="{E3A3E6AC-084B-D205-B89D-7FE13225436C}"/>
                </a:ext>
              </a:extLst>
            </p:cNvPr>
            <p:cNvSpPr/>
            <p:nvPr/>
          </p:nvSpPr>
          <p:spPr>
            <a:xfrm rot="338462" flipH="1">
              <a:off x="420931" y="2059705"/>
              <a:ext cx="458498" cy="464645"/>
            </a:xfrm>
            <a:custGeom>
              <a:avLst/>
              <a:gdLst>
                <a:gd name="connsiteX0" fmla="*/ 355308 w 396032"/>
                <a:gd name="connsiteY0" fmla="*/ 339484 h 386549"/>
                <a:gd name="connsiteX1" fmla="*/ 215138 w 396032"/>
                <a:gd name="connsiteY1" fmla="*/ 386550 h 386549"/>
                <a:gd name="connsiteX2" fmla="*/ 0 w 396032"/>
                <a:gd name="connsiteY2" fmla="*/ 180291 h 386549"/>
                <a:gd name="connsiteX3" fmla="*/ 199296 w 396032"/>
                <a:gd name="connsiteY3" fmla="*/ 0 h 386549"/>
                <a:gd name="connsiteX4" fmla="*/ 346751 w 396032"/>
                <a:gd name="connsiteY4" fmla="*/ 55414 h 386549"/>
                <a:gd name="connsiteX5" fmla="*/ 395610 w 396032"/>
                <a:gd name="connsiteY5" fmla="*/ 181168 h 386549"/>
                <a:gd name="connsiteX6" fmla="*/ 395783 w 396032"/>
                <a:gd name="connsiteY6" fmla="*/ 200824 h 386549"/>
                <a:gd name="connsiteX7" fmla="*/ 355308 w 396032"/>
                <a:gd name="connsiteY7" fmla="*/ 339484 h 38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032" h="386549">
                  <a:moveTo>
                    <a:pt x="355308" y="339484"/>
                  </a:moveTo>
                  <a:cubicBezTo>
                    <a:pt x="324190" y="371122"/>
                    <a:pt x="278362" y="386550"/>
                    <a:pt x="215138" y="386550"/>
                  </a:cubicBezTo>
                  <a:cubicBezTo>
                    <a:pt x="78422" y="386550"/>
                    <a:pt x="0" y="311386"/>
                    <a:pt x="0" y="180291"/>
                  </a:cubicBezTo>
                  <a:cubicBezTo>
                    <a:pt x="0" y="75838"/>
                    <a:pt x="83807" y="0"/>
                    <a:pt x="199296" y="0"/>
                  </a:cubicBezTo>
                  <a:cubicBezTo>
                    <a:pt x="259820" y="0"/>
                    <a:pt x="310782" y="19155"/>
                    <a:pt x="346751" y="55414"/>
                  </a:cubicBezTo>
                  <a:cubicBezTo>
                    <a:pt x="379266" y="88227"/>
                    <a:pt x="396159" y="131721"/>
                    <a:pt x="395610" y="181168"/>
                  </a:cubicBezTo>
                  <a:cubicBezTo>
                    <a:pt x="395531" y="187339"/>
                    <a:pt x="395657" y="193901"/>
                    <a:pt x="395783" y="200824"/>
                  </a:cubicBezTo>
                  <a:cubicBezTo>
                    <a:pt x="396630" y="241124"/>
                    <a:pt x="397714" y="296287"/>
                    <a:pt x="355308" y="339484"/>
                  </a:cubicBezTo>
                  <a:close/>
                </a:path>
              </a:pathLst>
            </a:custGeom>
            <a:solidFill>
              <a:schemeClr val="bg1">
                <a:alpha val="7000"/>
              </a:schemeClr>
            </a:solidFill>
            <a:ln w="1557" cap="flat">
              <a:noFill/>
              <a:prstDash val="solid"/>
              <a:miter/>
            </a:ln>
          </p:spPr>
          <p:txBody>
            <a:bodyPr rtlCol="0" anchor="ctr"/>
            <a:lstStyle/>
            <a:p>
              <a:endParaRPr lang="en-AU"/>
            </a:p>
          </p:txBody>
        </p:sp>
        <p:sp>
          <p:nvSpPr>
            <p:cNvPr id="55" name="Freeform: Shape 54">
              <a:extLst>
                <a:ext uri="{FF2B5EF4-FFF2-40B4-BE49-F238E27FC236}">
                  <a16:creationId xmlns:a16="http://schemas.microsoft.com/office/drawing/2014/main" id="{6823D173-B499-2325-B59D-835ACA00F1EB}"/>
                </a:ext>
              </a:extLst>
            </p:cNvPr>
            <p:cNvSpPr/>
            <p:nvPr/>
          </p:nvSpPr>
          <p:spPr>
            <a:xfrm rot="19699057" flipH="1">
              <a:off x="318768" y="1982123"/>
              <a:ext cx="644215" cy="657150"/>
            </a:xfrm>
            <a:custGeom>
              <a:avLst/>
              <a:gdLst>
                <a:gd name="connsiteX0" fmla="*/ 276870 w 644215"/>
                <a:gd name="connsiteY0" fmla="*/ 657151 h 657150"/>
                <a:gd name="connsiteX1" fmla="*/ 66144 w 644215"/>
                <a:gd name="connsiteY1" fmla="*/ 535578 h 657150"/>
                <a:gd name="connsiteX2" fmla="*/ 0 w 644215"/>
                <a:gd name="connsiteY2" fmla="*/ 365844 h 657150"/>
                <a:gd name="connsiteX3" fmla="*/ 44902 w 644215"/>
                <a:gd name="connsiteY3" fmla="*/ 162420 h 657150"/>
                <a:gd name="connsiteX4" fmla="*/ 154928 w 644215"/>
                <a:gd name="connsiteY4" fmla="*/ 48381 h 657150"/>
                <a:gd name="connsiteX5" fmla="*/ 360850 w 644215"/>
                <a:gd name="connsiteY5" fmla="*/ 0 h 657150"/>
                <a:gd name="connsiteX6" fmla="*/ 589160 w 644215"/>
                <a:gd name="connsiteY6" fmla="*/ 145865 h 657150"/>
                <a:gd name="connsiteX7" fmla="*/ 589615 w 644215"/>
                <a:gd name="connsiteY7" fmla="*/ 146773 h 657150"/>
                <a:gd name="connsiteX8" fmla="*/ 638945 w 644215"/>
                <a:gd name="connsiteY8" fmla="*/ 385657 h 657150"/>
                <a:gd name="connsiteX9" fmla="*/ 517615 w 644215"/>
                <a:gd name="connsiteY9" fmla="*/ 552212 h 657150"/>
                <a:gd name="connsiteX10" fmla="*/ 276870 w 644215"/>
                <a:gd name="connsiteY10" fmla="*/ 657151 h 657150"/>
                <a:gd name="connsiteX11" fmla="*/ 360850 w 644215"/>
                <a:gd name="connsiteY11" fmla="*/ 70685 h 657150"/>
                <a:gd name="connsiteX12" fmla="*/ 70854 w 644215"/>
                <a:gd name="connsiteY12" fmla="*/ 365844 h 657150"/>
                <a:gd name="connsiteX13" fmla="*/ 124125 w 644215"/>
                <a:gd name="connsiteY13" fmla="*/ 494934 h 657150"/>
                <a:gd name="connsiteX14" fmla="*/ 276870 w 644215"/>
                <a:gd name="connsiteY14" fmla="*/ 586450 h 657150"/>
                <a:gd name="connsiteX15" fmla="*/ 570901 w 644215"/>
                <a:gd name="connsiteY15" fmla="*/ 365922 h 657150"/>
                <a:gd name="connsiteX16" fmla="*/ 526046 w 644215"/>
                <a:gd name="connsiteY16" fmla="*/ 178004 h 657150"/>
                <a:gd name="connsiteX17" fmla="*/ 482321 w 644215"/>
                <a:gd name="connsiteY17" fmla="*/ 122653 h 657150"/>
                <a:gd name="connsiteX18" fmla="*/ 360866 w 644215"/>
                <a:gd name="connsiteY18" fmla="*/ 70685 h 6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215" h="657150">
                  <a:moveTo>
                    <a:pt x="276870" y="657151"/>
                  </a:moveTo>
                  <a:cubicBezTo>
                    <a:pt x="173438" y="657151"/>
                    <a:pt x="105190" y="591039"/>
                    <a:pt x="66144" y="535578"/>
                  </a:cubicBezTo>
                  <a:cubicBezTo>
                    <a:pt x="22718" y="473900"/>
                    <a:pt x="0" y="403512"/>
                    <a:pt x="0" y="365844"/>
                  </a:cubicBezTo>
                  <a:cubicBezTo>
                    <a:pt x="0" y="336132"/>
                    <a:pt x="0" y="245744"/>
                    <a:pt x="44902" y="162420"/>
                  </a:cubicBezTo>
                  <a:cubicBezTo>
                    <a:pt x="71043" y="113898"/>
                    <a:pt x="108063" y="75524"/>
                    <a:pt x="154928" y="48381"/>
                  </a:cubicBezTo>
                  <a:cubicBezTo>
                    <a:pt x="210334" y="16273"/>
                    <a:pt x="279618" y="0"/>
                    <a:pt x="360850" y="0"/>
                  </a:cubicBezTo>
                  <a:cubicBezTo>
                    <a:pt x="511916" y="0"/>
                    <a:pt x="586083" y="139913"/>
                    <a:pt x="589160" y="145865"/>
                  </a:cubicBezTo>
                  <a:lnTo>
                    <a:pt x="589615" y="146773"/>
                  </a:lnTo>
                  <a:cubicBezTo>
                    <a:pt x="597198" y="162514"/>
                    <a:pt x="663029" y="302991"/>
                    <a:pt x="638945" y="385657"/>
                  </a:cubicBezTo>
                  <a:cubicBezTo>
                    <a:pt x="625145" y="433036"/>
                    <a:pt x="576380" y="499962"/>
                    <a:pt x="517615" y="552212"/>
                  </a:cubicBezTo>
                  <a:cubicBezTo>
                    <a:pt x="463764" y="600092"/>
                    <a:pt x="378293" y="657151"/>
                    <a:pt x="276870" y="657151"/>
                  </a:cubicBezTo>
                  <a:close/>
                  <a:moveTo>
                    <a:pt x="360850" y="70685"/>
                  </a:moveTo>
                  <a:cubicBezTo>
                    <a:pt x="121173" y="70685"/>
                    <a:pt x="70854" y="231194"/>
                    <a:pt x="70854" y="365844"/>
                  </a:cubicBezTo>
                  <a:cubicBezTo>
                    <a:pt x="70854" y="384482"/>
                    <a:pt x="86476" y="441478"/>
                    <a:pt x="124125" y="494934"/>
                  </a:cubicBezTo>
                  <a:cubicBezTo>
                    <a:pt x="153515" y="536675"/>
                    <a:pt x="203881" y="586450"/>
                    <a:pt x="276870" y="586450"/>
                  </a:cubicBezTo>
                  <a:cubicBezTo>
                    <a:pt x="425157" y="586450"/>
                    <a:pt x="554903" y="420819"/>
                    <a:pt x="570901" y="365922"/>
                  </a:cubicBezTo>
                  <a:cubicBezTo>
                    <a:pt x="583351" y="323211"/>
                    <a:pt x="550114" y="228296"/>
                    <a:pt x="526046" y="178004"/>
                  </a:cubicBezTo>
                  <a:cubicBezTo>
                    <a:pt x="524366" y="174934"/>
                    <a:pt x="509482" y="148433"/>
                    <a:pt x="482321" y="122653"/>
                  </a:cubicBezTo>
                  <a:cubicBezTo>
                    <a:pt x="445976" y="88180"/>
                    <a:pt x="405108" y="70685"/>
                    <a:pt x="360866" y="70685"/>
                  </a:cubicBezTo>
                  <a:close/>
                </a:path>
              </a:pathLst>
            </a:custGeom>
            <a:solidFill>
              <a:schemeClr val="bg1">
                <a:alpha val="7000"/>
              </a:schemeClr>
            </a:solidFill>
            <a:ln w="25400" cap="flat">
              <a:solidFill>
                <a:schemeClr val="bg2"/>
              </a:solidFill>
              <a:prstDash val="solid"/>
              <a:miter/>
            </a:ln>
          </p:spPr>
          <p:txBody>
            <a:bodyPr rtlCol="0" anchor="ctr"/>
            <a:lstStyle/>
            <a:p>
              <a:endParaRPr lang="en-AU"/>
            </a:p>
          </p:txBody>
        </p:sp>
      </p:grpSp>
      <p:grpSp>
        <p:nvGrpSpPr>
          <p:cNvPr id="58" name="Group 57">
            <a:extLst>
              <a:ext uri="{FF2B5EF4-FFF2-40B4-BE49-F238E27FC236}">
                <a16:creationId xmlns:a16="http://schemas.microsoft.com/office/drawing/2014/main" id="{A7453DB5-75B5-3C86-BA6C-4FF0FAFC8E1A}"/>
              </a:ext>
              <a:ext uri="{C183D7F6-B498-43B3-948B-1728B52AA6E4}">
                <adec:decorative xmlns:adec="http://schemas.microsoft.com/office/drawing/2017/decorative" val="1"/>
              </a:ext>
            </a:extLst>
          </p:cNvPr>
          <p:cNvGrpSpPr/>
          <p:nvPr/>
        </p:nvGrpSpPr>
        <p:grpSpPr>
          <a:xfrm rot="6204612">
            <a:off x="296145" y="1258282"/>
            <a:ext cx="644215" cy="657150"/>
            <a:chOff x="318768" y="1982123"/>
            <a:chExt cx="644215" cy="657150"/>
          </a:xfrm>
        </p:grpSpPr>
        <p:sp>
          <p:nvSpPr>
            <p:cNvPr id="60" name="Freeform: Shape 59">
              <a:extLst>
                <a:ext uri="{FF2B5EF4-FFF2-40B4-BE49-F238E27FC236}">
                  <a16:creationId xmlns:a16="http://schemas.microsoft.com/office/drawing/2014/main" id="{2290FA69-6678-4EBF-5881-20769B70DBCB}"/>
                </a:ext>
              </a:extLst>
            </p:cNvPr>
            <p:cNvSpPr/>
            <p:nvPr/>
          </p:nvSpPr>
          <p:spPr>
            <a:xfrm rot="338462" flipH="1">
              <a:off x="420931" y="2059705"/>
              <a:ext cx="458498" cy="464645"/>
            </a:xfrm>
            <a:custGeom>
              <a:avLst/>
              <a:gdLst>
                <a:gd name="connsiteX0" fmla="*/ 355308 w 396032"/>
                <a:gd name="connsiteY0" fmla="*/ 339484 h 386549"/>
                <a:gd name="connsiteX1" fmla="*/ 215138 w 396032"/>
                <a:gd name="connsiteY1" fmla="*/ 386550 h 386549"/>
                <a:gd name="connsiteX2" fmla="*/ 0 w 396032"/>
                <a:gd name="connsiteY2" fmla="*/ 180291 h 386549"/>
                <a:gd name="connsiteX3" fmla="*/ 199296 w 396032"/>
                <a:gd name="connsiteY3" fmla="*/ 0 h 386549"/>
                <a:gd name="connsiteX4" fmla="*/ 346751 w 396032"/>
                <a:gd name="connsiteY4" fmla="*/ 55414 h 386549"/>
                <a:gd name="connsiteX5" fmla="*/ 395610 w 396032"/>
                <a:gd name="connsiteY5" fmla="*/ 181168 h 386549"/>
                <a:gd name="connsiteX6" fmla="*/ 395783 w 396032"/>
                <a:gd name="connsiteY6" fmla="*/ 200824 h 386549"/>
                <a:gd name="connsiteX7" fmla="*/ 355308 w 396032"/>
                <a:gd name="connsiteY7" fmla="*/ 339484 h 38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032" h="386549">
                  <a:moveTo>
                    <a:pt x="355308" y="339484"/>
                  </a:moveTo>
                  <a:cubicBezTo>
                    <a:pt x="324190" y="371122"/>
                    <a:pt x="278362" y="386550"/>
                    <a:pt x="215138" y="386550"/>
                  </a:cubicBezTo>
                  <a:cubicBezTo>
                    <a:pt x="78422" y="386550"/>
                    <a:pt x="0" y="311386"/>
                    <a:pt x="0" y="180291"/>
                  </a:cubicBezTo>
                  <a:cubicBezTo>
                    <a:pt x="0" y="75838"/>
                    <a:pt x="83807" y="0"/>
                    <a:pt x="199296" y="0"/>
                  </a:cubicBezTo>
                  <a:cubicBezTo>
                    <a:pt x="259820" y="0"/>
                    <a:pt x="310782" y="19155"/>
                    <a:pt x="346751" y="55414"/>
                  </a:cubicBezTo>
                  <a:cubicBezTo>
                    <a:pt x="379266" y="88227"/>
                    <a:pt x="396159" y="131721"/>
                    <a:pt x="395610" y="181168"/>
                  </a:cubicBezTo>
                  <a:cubicBezTo>
                    <a:pt x="395531" y="187339"/>
                    <a:pt x="395657" y="193901"/>
                    <a:pt x="395783" y="200824"/>
                  </a:cubicBezTo>
                  <a:cubicBezTo>
                    <a:pt x="396630" y="241124"/>
                    <a:pt x="397714" y="296287"/>
                    <a:pt x="355308" y="339484"/>
                  </a:cubicBezTo>
                  <a:close/>
                </a:path>
              </a:pathLst>
            </a:custGeom>
            <a:solidFill>
              <a:schemeClr val="bg1">
                <a:alpha val="7000"/>
              </a:schemeClr>
            </a:solidFill>
            <a:ln w="1557" cap="flat">
              <a:noFill/>
              <a:prstDash val="solid"/>
              <a:miter/>
            </a:ln>
          </p:spPr>
          <p:txBody>
            <a:bodyPr rtlCol="0" anchor="ctr"/>
            <a:lstStyle/>
            <a:p>
              <a:endParaRPr lang="en-AU"/>
            </a:p>
          </p:txBody>
        </p:sp>
        <p:sp>
          <p:nvSpPr>
            <p:cNvPr id="61" name="Freeform: Shape 60">
              <a:extLst>
                <a:ext uri="{FF2B5EF4-FFF2-40B4-BE49-F238E27FC236}">
                  <a16:creationId xmlns:a16="http://schemas.microsoft.com/office/drawing/2014/main" id="{8935752B-6766-4A36-D749-DF74D61854AC}"/>
                </a:ext>
              </a:extLst>
            </p:cNvPr>
            <p:cNvSpPr/>
            <p:nvPr/>
          </p:nvSpPr>
          <p:spPr>
            <a:xfrm rot="19699057" flipH="1">
              <a:off x="318768" y="1982123"/>
              <a:ext cx="644215" cy="657150"/>
            </a:xfrm>
            <a:custGeom>
              <a:avLst/>
              <a:gdLst>
                <a:gd name="connsiteX0" fmla="*/ 276870 w 644215"/>
                <a:gd name="connsiteY0" fmla="*/ 657151 h 657150"/>
                <a:gd name="connsiteX1" fmla="*/ 66144 w 644215"/>
                <a:gd name="connsiteY1" fmla="*/ 535578 h 657150"/>
                <a:gd name="connsiteX2" fmla="*/ 0 w 644215"/>
                <a:gd name="connsiteY2" fmla="*/ 365844 h 657150"/>
                <a:gd name="connsiteX3" fmla="*/ 44902 w 644215"/>
                <a:gd name="connsiteY3" fmla="*/ 162420 h 657150"/>
                <a:gd name="connsiteX4" fmla="*/ 154928 w 644215"/>
                <a:gd name="connsiteY4" fmla="*/ 48381 h 657150"/>
                <a:gd name="connsiteX5" fmla="*/ 360850 w 644215"/>
                <a:gd name="connsiteY5" fmla="*/ 0 h 657150"/>
                <a:gd name="connsiteX6" fmla="*/ 589160 w 644215"/>
                <a:gd name="connsiteY6" fmla="*/ 145865 h 657150"/>
                <a:gd name="connsiteX7" fmla="*/ 589615 w 644215"/>
                <a:gd name="connsiteY7" fmla="*/ 146773 h 657150"/>
                <a:gd name="connsiteX8" fmla="*/ 638945 w 644215"/>
                <a:gd name="connsiteY8" fmla="*/ 385657 h 657150"/>
                <a:gd name="connsiteX9" fmla="*/ 517615 w 644215"/>
                <a:gd name="connsiteY9" fmla="*/ 552212 h 657150"/>
                <a:gd name="connsiteX10" fmla="*/ 276870 w 644215"/>
                <a:gd name="connsiteY10" fmla="*/ 657151 h 657150"/>
                <a:gd name="connsiteX11" fmla="*/ 360850 w 644215"/>
                <a:gd name="connsiteY11" fmla="*/ 70685 h 657150"/>
                <a:gd name="connsiteX12" fmla="*/ 70854 w 644215"/>
                <a:gd name="connsiteY12" fmla="*/ 365844 h 657150"/>
                <a:gd name="connsiteX13" fmla="*/ 124125 w 644215"/>
                <a:gd name="connsiteY13" fmla="*/ 494934 h 657150"/>
                <a:gd name="connsiteX14" fmla="*/ 276870 w 644215"/>
                <a:gd name="connsiteY14" fmla="*/ 586450 h 657150"/>
                <a:gd name="connsiteX15" fmla="*/ 570901 w 644215"/>
                <a:gd name="connsiteY15" fmla="*/ 365922 h 657150"/>
                <a:gd name="connsiteX16" fmla="*/ 526046 w 644215"/>
                <a:gd name="connsiteY16" fmla="*/ 178004 h 657150"/>
                <a:gd name="connsiteX17" fmla="*/ 482321 w 644215"/>
                <a:gd name="connsiteY17" fmla="*/ 122653 h 657150"/>
                <a:gd name="connsiteX18" fmla="*/ 360866 w 644215"/>
                <a:gd name="connsiteY18" fmla="*/ 70685 h 6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215" h="657150">
                  <a:moveTo>
                    <a:pt x="276870" y="657151"/>
                  </a:moveTo>
                  <a:cubicBezTo>
                    <a:pt x="173438" y="657151"/>
                    <a:pt x="105190" y="591039"/>
                    <a:pt x="66144" y="535578"/>
                  </a:cubicBezTo>
                  <a:cubicBezTo>
                    <a:pt x="22718" y="473900"/>
                    <a:pt x="0" y="403512"/>
                    <a:pt x="0" y="365844"/>
                  </a:cubicBezTo>
                  <a:cubicBezTo>
                    <a:pt x="0" y="336132"/>
                    <a:pt x="0" y="245744"/>
                    <a:pt x="44902" y="162420"/>
                  </a:cubicBezTo>
                  <a:cubicBezTo>
                    <a:pt x="71043" y="113898"/>
                    <a:pt x="108063" y="75524"/>
                    <a:pt x="154928" y="48381"/>
                  </a:cubicBezTo>
                  <a:cubicBezTo>
                    <a:pt x="210334" y="16273"/>
                    <a:pt x="279618" y="0"/>
                    <a:pt x="360850" y="0"/>
                  </a:cubicBezTo>
                  <a:cubicBezTo>
                    <a:pt x="511916" y="0"/>
                    <a:pt x="586083" y="139913"/>
                    <a:pt x="589160" y="145865"/>
                  </a:cubicBezTo>
                  <a:lnTo>
                    <a:pt x="589615" y="146773"/>
                  </a:lnTo>
                  <a:cubicBezTo>
                    <a:pt x="597198" y="162514"/>
                    <a:pt x="663029" y="302991"/>
                    <a:pt x="638945" y="385657"/>
                  </a:cubicBezTo>
                  <a:cubicBezTo>
                    <a:pt x="625145" y="433036"/>
                    <a:pt x="576380" y="499962"/>
                    <a:pt x="517615" y="552212"/>
                  </a:cubicBezTo>
                  <a:cubicBezTo>
                    <a:pt x="463764" y="600092"/>
                    <a:pt x="378293" y="657151"/>
                    <a:pt x="276870" y="657151"/>
                  </a:cubicBezTo>
                  <a:close/>
                  <a:moveTo>
                    <a:pt x="360850" y="70685"/>
                  </a:moveTo>
                  <a:cubicBezTo>
                    <a:pt x="121173" y="70685"/>
                    <a:pt x="70854" y="231194"/>
                    <a:pt x="70854" y="365844"/>
                  </a:cubicBezTo>
                  <a:cubicBezTo>
                    <a:pt x="70854" y="384482"/>
                    <a:pt x="86476" y="441478"/>
                    <a:pt x="124125" y="494934"/>
                  </a:cubicBezTo>
                  <a:cubicBezTo>
                    <a:pt x="153515" y="536675"/>
                    <a:pt x="203881" y="586450"/>
                    <a:pt x="276870" y="586450"/>
                  </a:cubicBezTo>
                  <a:cubicBezTo>
                    <a:pt x="425157" y="586450"/>
                    <a:pt x="554903" y="420819"/>
                    <a:pt x="570901" y="365922"/>
                  </a:cubicBezTo>
                  <a:cubicBezTo>
                    <a:pt x="583351" y="323211"/>
                    <a:pt x="550114" y="228296"/>
                    <a:pt x="526046" y="178004"/>
                  </a:cubicBezTo>
                  <a:cubicBezTo>
                    <a:pt x="524366" y="174934"/>
                    <a:pt x="509482" y="148433"/>
                    <a:pt x="482321" y="122653"/>
                  </a:cubicBezTo>
                  <a:cubicBezTo>
                    <a:pt x="445976" y="88180"/>
                    <a:pt x="405108" y="70685"/>
                    <a:pt x="360866" y="70685"/>
                  </a:cubicBezTo>
                  <a:close/>
                </a:path>
              </a:pathLst>
            </a:custGeom>
            <a:solidFill>
              <a:schemeClr val="bg1">
                <a:alpha val="7000"/>
              </a:schemeClr>
            </a:solidFill>
            <a:ln w="25400" cap="flat">
              <a:solidFill>
                <a:schemeClr val="bg2"/>
              </a:solidFill>
              <a:prstDash val="solid"/>
              <a:miter/>
            </a:ln>
          </p:spPr>
          <p:txBody>
            <a:bodyPr rtlCol="0" anchor="ctr"/>
            <a:lstStyle/>
            <a:p>
              <a:endParaRPr lang="en-AU"/>
            </a:p>
          </p:txBody>
        </p:sp>
      </p:grpSp>
    </p:spTree>
    <p:extLst>
      <p:ext uri="{BB962C8B-B14F-4D97-AF65-F5344CB8AC3E}">
        <p14:creationId xmlns:p14="http://schemas.microsoft.com/office/powerpoint/2010/main" val="3403781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 name="think-cell data - do not delete" hidden="1">
            <a:extLst>
              <a:ext uri="{FF2B5EF4-FFF2-40B4-BE49-F238E27FC236}">
                <a16:creationId xmlns:a16="http://schemas.microsoft.com/office/drawing/2014/main" id="{5EE68F94-12F5-8822-5E6E-3582060D732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9394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09" name="think-cell data - do not delete" hidden="1">
                        <a:extLst>
                          <a:ext uri="{FF2B5EF4-FFF2-40B4-BE49-F238E27FC236}">
                            <a16:creationId xmlns:a16="http://schemas.microsoft.com/office/drawing/2014/main" id="{5EE68F94-12F5-8822-5E6E-3582060D732C}"/>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D0EC193-7005-8A61-849E-F4C37D083D63}"/>
              </a:ext>
              <a:ext uri="{C183D7F6-B498-43B3-948B-1728B52AA6E4}">
                <adec:decorative xmlns:adec="http://schemas.microsoft.com/office/drawing/2017/decorative" val="1"/>
              </a:ext>
            </a:extLst>
          </p:cNvPr>
          <p:cNvSpPr/>
          <p:nvPr/>
        </p:nvSpPr>
        <p:spPr>
          <a:xfrm>
            <a:off x="3619100" y="0"/>
            <a:ext cx="7072714" cy="7559675"/>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 name="Group 2">
            <a:extLst>
              <a:ext uri="{FF2B5EF4-FFF2-40B4-BE49-F238E27FC236}">
                <a16:creationId xmlns:a16="http://schemas.microsoft.com/office/drawing/2014/main" id="{20C8037C-D4ED-1232-8D36-F4172D36996F}"/>
              </a:ext>
              <a:ext uri="{C183D7F6-B498-43B3-948B-1728B52AA6E4}">
                <adec:decorative xmlns:adec="http://schemas.microsoft.com/office/drawing/2017/decorative" val="1"/>
              </a:ext>
            </a:extLst>
          </p:cNvPr>
          <p:cNvGrpSpPr/>
          <p:nvPr/>
        </p:nvGrpSpPr>
        <p:grpSpPr>
          <a:xfrm>
            <a:off x="-4160" y="0"/>
            <a:ext cx="4865251" cy="7560603"/>
            <a:chOff x="-4159" y="0"/>
            <a:chExt cx="3850308" cy="7560603"/>
          </a:xfrm>
        </p:grpSpPr>
        <p:sp>
          <p:nvSpPr>
            <p:cNvPr id="4" name="Freeform: Shape 3">
              <a:extLst>
                <a:ext uri="{FF2B5EF4-FFF2-40B4-BE49-F238E27FC236}">
                  <a16:creationId xmlns:a16="http://schemas.microsoft.com/office/drawing/2014/main" id="{DE11610E-2B96-C253-F70B-0DFEC7D5CAB9}"/>
                </a:ext>
              </a:extLst>
            </p:cNvPr>
            <p:cNvSpPr/>
            <p:nvPr/>
          </p:nvSpPr>
          <p:spPr>
            <a:xfrm>
              <a:off x="168213" y="0"/>
              <a:ext cx="3677936" cy="7559675"/>
            </a:xfrm>
            <a:custGeom>
              <a:avLst/>
              <a:gdLst>
                <a:gd name="connsiteX0" fmla="*/ 0 w 4813620"/>
                <a:gd name="connsiteY0" fmla="*/ 0 h 7559675"/>
                <a:gd name="connsiteX1" fmla="*/ 4687589 w 4813620"/>
                <a:gd name="connsiteY1" fmla="*/ 0 h 7559675"/>
                <a:gd name="connsiteX2" fmla="*/ 4688793 w 4813620"/>
                <a:gd name="connsiteY2" fmla="*/ 119052 h 7559675"/>
                <a:gd name="connsiteX3" fmla="*/ 4664679 w 4813620"/>
                <a:gd name="connsiteY3" fmla="*/ 314160 h 7559675"/>
                <a:gd name="connsiteX4" fmla="*/ 4124770 w 4813620"/>
                <a:gd name="connsiteY4" fmla="*/ 1951546 h 7559675"/>
                <a:gd name="connsiteX5" fmla="*/ 4797110 w 4813620"/>
                <a:gd name="connsiteY5" fmla="*/ 4091985 h 7559675"/>
                <a:gd name="connsiteX6" fmla="*/ 4410005 w 4813620"/>
                <a:gd name="connsiteY6" fmla="*/ 6429699 h 7559675"/>
                <a:gd name="connsiteX7" fmla="*/ 4773201 w 4813620"/>
                <a:gd name="connsiteY7" fmla="*/ 7504005 h 7559675"/>
                <a:gd name="connsiteX8" fmla="*/ 4813620 w 4813620"/>
                <a:gd name="connsiteY8" fmla="*/ 7559675 h 7559675"/>
                <a:gd name="connsiteX9" fmla="*/ 0 w 4813620"/>
                <a:gd name="connsiteY9" fmla="*/ 7559675 h 7559675"/>
                <a:gd name="connsiteX10" fmla="*/ 0 w 4813620"/>
                <a:gd name="connsiteY10" fmla="*/ 0 h 755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3620" h="7559675">
                  <a:moveTo>
                    <a:pt x="0" y="0"/>
                  </a:moveTo>
                  <a:lnTo>
                    <a:pt x="4687589" y="0"/>
                  </a:lnTo>
                  <a:lnTo>
                    <a:pt x="4688793" y="119052"/>
                  </a:lnTo>
                  <a:cubicBezTo>
                    <a:pt x="4685053" y="181821"/>
                    <a:pt x="4676988" y="246963"/>
                    <a:pt x="4664679" y="314160"/>
                  </a:cubicBezTo>
                  <a:cubicBezTo>
                    <a:pt x="4566204" y="851735"/>
                    <a:pt x="4102698" y="1321909"/>
                    <a:pt x="4124770" y="1951546"/>
                  </a:cubicBezTo>
                  <a:cubicBezTo>
                    <a:pt x="4146842" y="2581184"/>
                    <a:pt x="4749570" y="3345627"/>
                    <a:pt x="4797110" y="4091985"/>
                  </a:cubicBezTo>
                  <a:cubicBezTo>
                    <a:pt x="4844649" y="4838343"/>
                    <a:pt x="4386236" y="5824721"/>
                    <a:pt x="4410005" y="6429699"/>
                  </a:cubicBezTo>
                  <a:cubicBezTo>
                    <a:pt x="4428204" y="6892885"/>
                    <a:pt x="4592702" y="7241396"/>
                    <a:pt x="4773201" y="7504005"/>
                  </a:cubicBezTo>
                  <a:lnTo>
                    <a:pt x="4813620" y="7559675"/>
                  </a:lnTo>
                  <a:lnTo>
                    <a:pt x="0" y="7559675"/>
                  </a:lnTo>
                  <a:lnTo>
                    <a:pt x="0" y="0"/>
                  </a:lnTo>
                  <a:close/>
                </a:path>
              </a:pathLst>
            </a:custGeom>
            <a:gradFill>
              <a:gsLst>
                <a:gs pos="65000">
                  <a:schemeClr val="accent1"/>
                </a:gs>
                <a:gs pos="73000">
                  <a:schemeClr val="accent2"/>
                </a:gs>
                <a:gs pos="86000">
                  <a:schemeClr val="accent3"/>
                </a:gs>
                <a:gs pos="95000">
                  <a:schemeClr val="accent4"/>
                </a:gs>
              </a:gsLst>
              <a:lin ang="600000" scaled="0"/>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100">
                <a:solidFill>
                  <a:schemeClr val="accent3"/>
                </a:solidFill>
              </a:endParaRPr>
            </a:p>
          </p:txBody>
        </p:sp>
        <p:sp>
          <p:nvSpPr>
            <p:cNvPr id="5" name="Freeform: Shape 4">
              <a:extLst>
                <a:ext uri="{FF2B5EF4-FFF2-40B4-BE49-F238E27FC236}">
                  <a16:creationId xmlns:a16="http://schemas.microsoft.com/office/drawing/2014/main" id="{11B1302E-491A-61FC-2991-BCCB843D9D52}"/>
                </a:ext>
              </a:extLst>
            </p:cNvPr>
            <p:cNvSpPr/>
            <p:nvPr/>
          </p:nvSpPr>
          <p:spPr>
            <a:xfrm>
              <a:off x="-4159" y="0"/>
              <a:ext cx="3799438" cy="7560603"/>
            </a:xfrm>
            <a:custGeom>
              <a:avLst/>
              <a:gdLst>
                <a:gd name="connsiteX0" fmla="*/ 0 w 4024392"/>
                <a:gd name="connsiteY0" fmla="*/ 0 h 7560603"/>
                <a:gd name="connsiteX1" fmla="*/ 141900 w 4024392"/>
                <a:gd name="connsiteY1" fmla="*/ 0 h 7560603"/>
                <a:gd name="connsiteX2" fmla="*/ 141900 w 4024392"/>
                <a:gd name="connsiteY2" fmla="*/ 928 h 7560603"/>
                <a:gd name="connsiteX3" fmla="*/ 3863175 w 4024392"/>
                <a:gd name="connsiteY3" fmla="*/ 928 h 7560603"/>
                <a:gd name="connsiteX4" fmla="*/ 3867585 w 4024392"/>
                <a:gd name="connsiteY4" fmla="*/ 32519 h 7560603"/>
                <a:gd name="connsiteX5" fmla="*/ 3849884 w 4024392"/>
                <a:gd name="connsiteY5" fmla="*/ 399407 h 7560603"/>
                <a:gd name="connsiteX6" fmla="*/ 3421020 w 4024392"/>
                <a:gd name="connsiteY6" fmla="*/ 1997201 h 7560603"/>
                <a:gd name="connsiteX7" fmla="*/ 3955077 w 4024392"/>
                <a:gd name="connsiteY7" fmla="*/ 4085883 h 7560603"/>
                <a:gd name="connsiteX8" fmla="*/ 3647590 w 4024392"/>
                <a:gd name="connsiteY8" fmla="*/ 6367070 h 7560603"/>
                <a:gd name="connsiteX9" fmla="*/ 3998009 w 4024392"/>
                <a:gd name="connsiteY9" fmla="*/ 7520175 h 7560603"/>
                <a:gd name="connsiteX10" fmla="*/ 4024392 w 4024392"/>
                <a:gd name="connsiteY10" fmla="*/ 7560603 h 7560603"/>
                <a:gd name="connsiteX11" fmla="*/ 31484 w 4024392"/>
                <a:gd name="connsiteY11" fmla="*/ 7560603 h 7560603"/>
                <a:gd name="connsiteX12" fmla="*/ 31484 w 4024392"/>
                <a:gd name="connsiteY12" fmla="*/ 7560139 h 7560603"/>
                <a:gd name="connsiteX13" fmla="*/ 0 w 4024392"/>
                <a:gd name="connsiteY13" fmla="*/ 7560139 h 7560603"/>
                <a:gd name="connsiteX14" fmla="*/ 0 w 4024392"/>
                <a:gd name="connsiteY14" fmla="*/ 0 h 756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24392" h="7560603">
                  <a:moveTo>
                    <a:pt x="0" y="0"/>
                  </a:moveTo>
                  <a:lnTo>
                    <a:pt x="141900" y="0"/>
                  </a:lnTo>
                  <a:lnTo>
                    <a:pt x="141900" y="928"/>
                  </a:lnTo>
                  <a:lnTo>
                    <a:pt x="3863175" y="928"/>
                  </a:lnTo>
                  <a:lnTo>
                    <a:pt x="3867585" y="32519"/>
                  </a:lnTo>
                  <a:cubicBezTo>
                    <a:pt x="3875509" y="145140"/>
                    <a:pt x="3869439" y="268263"/>
                    <a:pt x="3849884" y="399407"/>
                  </a:cubicBezTo>
                  <a:cubicBezTo>
                    <a:pt x="3771663" y="923983"/>
                    <a:pt x="3403488" y="1382788"/>
                    <a:pt x="3421020" y="1997201"/>
                  </a:cubicBezTo>
                  <a:cubicBezTo>
                    <a:pt x="3438553" y="2611614"/>
                    <a:pt x="3917316" y="3357572"/>
                    <a:pt x="3955077" y="4085883"/>
                  </a:cubicBezTo>
                  <a:cubicBezTo>
                    <a:pt x="3992839" y="4814194"/>
                    <a:pt x="3628709" y="5776721"/>
                    <a:pt x="3647590" y="6367070"/>
                  </a:cubicBezTo>
                  <a:cubicBezTo>
                    <a:pt x="3664111" y="6883625"/>
                    <a:pt x="3832415" y="7254023"/>
                    <a:pt x="3998009" y="7520175"/>
                  </a:cubicBezTo>
                  <a:lnTo>
                    <a:pt x="4024392" y="7560603"/>
                  </a:lnTo>
                  <a:lnTo>
                    <a:pt x="31484" y="7560603"/>
                  </a:lnTo>
                  <a:lnTo>
                    <a:pt x="31484" y="7560139"/>
                  </a:lnTo>
                  <a:lnTo>
                    <a:pt x="0" y="7560139"/>
                  </a:lnTo>
                  <a:lnTo>
                    <a:pt x="0" y="0"/>
                  </a:lnTo>
                  <a:close/>
                </a:path>
              </a:pathLst>
            </a:custGeom>
            <a:solidFill>
              <a:schemeClr val="bg2"/>
            </a:solid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100" err="1">
                <a:solidFill>
                  <a:schemeClr val="bg2"/>
                </a:solidFill>
              </a:endParaRPr>
            </a:p>
          </p:txBody>
        </p:sp>
      </p:grpSp>
      <p:sp>
        <p:nvSpPr>
          <p:cNvPr id="21" name="Title 20">
            <a:extLst>
              <a:ext uri="{FF2B5EF4-FFF2-40B4-BE49-F238E27FC236}">
                <a16:creationId xmlns:a16="http://schemas.microsoft.com/office/drawing/2014/main" id="{4E171F12-D89E-DEF8-D537-27205B54E555}"/>
              </a:ext>
            </a:extLst>
          </p:cNvPr>
          <p:cNvSpPr txBox="1">
            <a:spLocks noGrp="1"/>
          </p:cNvSpPr>
          <p:nvPr>
            <p:ph type="title" idx="4294967295"/>
          </p:nvPr>
        </p:nvSpPr>
        <p:spPr>
          <a:xfrm>
            <a:off x="354863" y="404848"/>
            <a:ext cx="3582019" cy="38869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14349" rtl="0" eaLnBrk="1" fontAlgn="auto" latinLnBrk="0" hangingPunct="1">
              <a:lnSpc>
                <a:spcPct val="107000"/>
              </a:lnSpc>
              <a:spcBef>
                <a:spcPts val="0"/>
              </a:spcBef>
              <a:spcAft>
                <a:spcPts val="806"/>
              </a:spcAft>
              <a:buClrTx/>
              <a:buSzPts val="800"/>
              <a:buFontTx/>
              <a:buNone/>
              <a:tabLst/>
              <a:defRPr/>
            </a:pPr>
            <a:r>
              <a:rPr kumimoji="0" lang="en-AU" sz="1800" b="1" i="0" u="none" strike="noStrike" kern="1200" cap="none" spc="0" normalizeH="0" baseline="0" noProof="0" dirty="0">
                <a:ln w="3175" cap="rnd">
                  <a:noFill/>
                </a:ln>
                <a:solidFill>
                  <a:schemeClr val="accent2"/>
                </a:solidFill>
                <a:effectLst/>
                <a:uLnTx/>
                <a:uFillTx/>
                <a:latin typeface="Segoe Print" panose="02000600000000000000" pitchFamily="2" charset="0"/>
                <a:ea typeface="+mn-ea"/>
                <a:cs typeface="Times New Roman" panose="02020603050405020304" pitchFamily="18" charset="0"/>
              </a:rPr>
              <a:t>What interviewees said</a:t>
            </a:r>
          </a:p>
        </p:txBody>
      </p:sp>
      <p:sp>
        <p:nvSpPr>
          <p:cNvPr id="16" name="TextBox 15">
            <a:extLst>
              <a:ext uri="{FF2B5EF4-FFF2-40B4-BE49-F238E27FC236}">
                <a16:creationId xmlns:a16="http://schemas.microsoft.com/office/drawing/2014/main" id="{50EB5533-0612-40D9-26E9-C3602CB97599}"/>
              </a:ext>
            </a:extLst>
          </p:cNvPr>
          <p:cNvSpPr txBox="1"/>
          <p:nvPr/>
        </p:nvSpPr>
        <p:spPr>
          <a:xfrm>
            <a:off x="341353" y="1037964"/>
            <a:ext cx="3497090" cy="681597"/>
          </a:xfrm>
          <a:prstGeom prst="rect">
            <a:avLst/>
          </a:prstGeom>
          <a:noFill/>
        </p:spPr>
        <p:txBody>
          <a:bodyPr wrap="square" lIns="0" tIns="0" rIns="0" bIns="0">
            <a:spAutoFit/>
          </a:bodyPr>
          <a:lstStyle/>
          <a:p>
            <a:pPr indent="-215900">
              <a:lnSpc>
                <a:spcPts val="1600"/>
              </a:lnSpc>
              <a:spcAft>
                <a:spcPts val="600"/>
              </a:spcAft>
            </a:pPr>
            <a:r>
              <a:rPr lang="en-AU" sz="1100" i="1">
                <a:solidFill>
                  <a:schemeClr val="bg1">
                    <a:lumMod val="100000"/>
                  </a:schemeClr>
                </a:solidFill>
                <a:latin typeface="Segoe UI" panose="020B0502040204020203" pitchFamily="34" charset="0"/>
                <a:cs typeface="Segoe UI" panose="020B0502040204020203" pitchFamily="34" charset="0"/>
              </a:rPr>
              <a:t>“Everything we've needed we've been able to reach out to the [hub staff] and they've really helped with everything.” </a:t>
            </a:r>
          </a:p>
          <a:p>
            <a:pPr indent="-215900">
              <a:lnSpc>
                <a:spcPts val="1600"/>
              </a:lnSpc>
              <a:spcAft>
                <a:spcPts val="600"/>
              </a:spcAft>
            </a:pPr>
            <a:r>
              <a:rPr lang="en-AU" sz="1050" b="1" i="1">
                <a:solidFill>
                  <a:srgbClr val="F6532A"/>
                </a:solidFill>
                <a:latin typeface="Segoe Print" panose="02000600000000000000" pitchFamily="2" charset="0"/>
                <a:cs typeface="Segoe UI Semibold" panose="020B0702040204020203" pitchFamily="34" charset="0"/>
              </a:rPr>
              <a:t>– hub client</a:t>
            </a:r>
          </a:p>
        </p:txBody>
      </p:sp>
      <p:sp>
        <p:nvSpPr>
          <p:cNvPr id="18" name="TextBox 17">
            <a:extLst>
              <a:ext uri="{FF2B5EF4-FFF2-40B4-BE49-F238E27FC236}">
                <a16:creationId xmlns:a16="http://schemas.microsoft.com/office/drawing/2014/main" id="{79E2C0D1-A87A-BC97-7B05-477D5B88A70C}"/>
              </a:ext>
            </a:extLst>
          </p:cNvPr>
          <p:cNvSpPr txBox="1"/>
          <p:nvPr/>
        </p:nvSpPr>
        <p:spPr>
          <a:xfrm>
            <a:off x="341353" y="1959851"/>
            <a:ext cx="3497090" cy="681597"/>
          </a:xfrm>
          <a:prstGeom prst="rect">
            <a:avLst/>
          </a:prstGeom>
          <a:noFill/>
        </p:spPr>
        <p:txBody>
          <a:bodyPr wrap="square" lIns="0" tIns="0" rIns="0" bIns="0">
            <a:spAutoFit/>
          </a:bodyPr>
          <a:lstStyle/>
          <a:p>
            <a:pPr indent="-215900">
              <a:lnSpc>
                <a:spcPts val="1600"/>
              </a:lnSpc>
              <a:spcAft>
                <a:spcPts val="600"/>
              </a:spcAft>
            </a:pPr>
            <a:r>
              <a:rPr lang="en-AU" sz="1100" i="1">
                <a:solidFill>
                  <a:schemeClr val="bg1">
                    <a:lumMod val="100000"/>
                  </a:schemeClr>
                </a:solidFill>
                <a:latin typeface="Segoe UI" panose="020B0502040204020203" pitchFamily="34" charset="0"/>
                <a:cs typeface="Segoe UI" panose="020B0502040204020203" pitchFamily="34" charset="0"/>
              </a:rPr>
              <a:t>“I would dearly, dearly love for them to come out on Country. They are stuck in the city.” </a:t>
            </a:r>
          </a:p>
          <a:p>
            <a:pPr indent="-215900">
              <a:lnSpc>
                <a:spcPts val="1600"/>
              </a:lnSpc>
              <a:spcAft>
                <a:spcPts val="600"/>
              </a:spcAft>
            </a:pPr>
            <a:r>
              <a:rPr lang="en-AU" sz="1050" b="1" i="1">
                <a:solidFill>
                  <a:srgbClr val="F36C20"/>
                </a:solidFill>
                <a:latin typeface="Segoe Print" panose="02000600000000000000" pitchFamily="2" charset="0"/>
                <a:cs typeface="Segoe UI Semibold" panose="020B0702040204020203" pitchFamily="34" charset="0"/>
              </a:rPr>
              <a:t>– hub client</a:t>
            </a:r>
          </a:p>
        </p:txBody>
      </p:sp>
      <p:sp>
        <p:nvSpPr>
          <p:cNvPr id="22" name="TextBox 21">
            <a:extLst>
              <a:ext uri="{FF2B5EF4-FFF2-40B4-BE49-F238E27FC236}">
                <a16:creationId xmlns:a16="http://schemas.microsoft.com/office/drawing/2014/main" id="{2BA7748A-D843-1955-6DDD-D87C094E2CF8}"/>
              </a:ext>
            </a:extLst>
          </p:cNvPr>
          <p:cNvSpPr txBox="1"/>
          <p:nvPr/>
        </p:nvSpPr>
        <p:spPr>
          <a:xfrm>
            <a:off x="341353" y="2881738"/>
            <a:ext cx="3582021" cy="886781"/>
          </a:xfrm>
          <a:prstGeom prst="rect">
            <a:avLst/>
          </a:prstGeom>
          <a:noFill/>
        </p:spPr>
        <p:txBody>
          <a:bodyPr wrap="square" lIns="0" tIns="0" rIns="0" bIns="0">
            <a:spAutoFit/>
          </a:bodyPr>
          <a:lstStyle/>
          <a:p>
            <a:pPr indent="-215900">
              <a:lnSpc>
                <a:spcPts val="1600"/>
              </a:lnSpc>
              <a:spcAft>
                <a:spcPts val="600"/>
              </a:spcAft>
            </a:pPr>
            <a:r>
              <a:rPr lang="en-AU" sz="1100" i="1">
                <a:solidFill>
                  <a:schemeClr val="bg1">
                    <a:lumMod val="100000"/>
                  </a:schemeClr>
                </a:solidFill>
                <a:latin typeface="Segoe UI" panose="020B0502040204020203" pitchFamily="34" charset="0"/>
                <a:cs typeface="Segoe UI" panose="020B0502040204020203" pitchFamily="34" charset="0"/>
              </a:rPr>
              <a:t>“If we stopped funding [the hub], there would be a huge void in the service delivery across [the region]. They run a really good operation across just about everything they do.” </a:t>
            </a:r>
          </a:p>
          <a:p>
            <a:pPr indent="-215900">
              <a:lnSpc>
                <a:spcPts val="1600"/>
              </a:lnSpc>
              <a:spcAft>
                <a:spcPts val="600"/>
              </a:spcAft>
            </a:pPr>
            <a:r>
              <a:rPr lang="en-AU" sz="1050" b="1" i="1">
                <a:solidFill>
                  <a:srgbClr val="F99F21"/>
                </a:solidFill>
                <a:latin typeface="Segoe Print" panose="02000600000000000000" pitchFamily="2" charset="0"/>
                <a:cs typeface="Segoe UI Semibold" panose="020B0702040204020203" pitchFamily="34" charset="0"/>
              </a:rPr>
              <a:t>– government stakeholder</a:t>
            </a:r>
          </a:p>
        </p:txBody>
      </p:sp>
      <p:sp>
        <p:nvSpPr>
          <p:cNvPr id="17" name="TextBox 16">
            <a:extLst>
              <a:ext uri="{FF2B5EF4-FFF2-40B4-BE49-F238E27FC236}">
                <a16:creationId xmlns:a16="http://schemas.microsoft.com/office/drawing/2014/main" id="{E9CF69E0-C7AC-9B43-BAE5-B1AF42243C3C}"/>
              </a:ext>
            </a:extLst>
          </p:cNvPr>
          <p:cNvSpPr txBox="1"/>
          <p:nvPr/>
        </p:nvSpPr>
        <p:spPr>
          <a:xfrm>
            <a:off x="341352" y="4008809"/>
            <a:ext cx="3582021" cy="681597"/>
          </a:xfrm>
          <a:prstGeom prst="rect">
            <a:avLst/>
          </a:prstGeom>
          <a:noFill/>
        </p:spPr>
        <p:txBody>
          <a:bodyPr wrap="square" lIns="0" tIns="0" rIns="0" bIns="0">
            <a:spAutoFit/>
          </a:bodyPr>
          <a:lstStyle/>
          <a:p>
            <a:pPr indent="-215900">
              <a:lnSpc>
                <a:spcPts val="1600"/>
              </a:lnSpc>
              <a:spcAft>
                <a:spcPts val="600"/>
              </a:spcAft>
            </a:pPr>
            <a:r>
              <a:rPr lang="en-AU" sz="1100" i="1">
                <a:solidFill>
                  <a:schemeClr val="bg1">
                    <a:lumMod val="100000"/>
                  </a:schemeClr>
                </a:solidFill>
                <a:latin typeface="Segoe UI" panose="020B0502040204020203" pitchFamily="34" charset="0"/>
                <a:cs typeface="Segoe UI" panose="020B0502040204020203" pitchFamily="34" charset="0"/>
              </a:rPr>
              <a:t>“The coaches need more high-level business experience for mature business operators to scale and grow.” </a:t>
            </a:r>
          </a:p>
          <a:p>
            <a:pPr indent="-215900">
              <a:lnSpc>
                <a:spcPts val="1600"/>
              </a:lnSpc>
              <a:spcAft>
                <a:spcPts val="600"/>
              </a:spcAft>
            </a:pPr>
            <a:r>
              <a:rPr lang="en-AU" sz="1050" b="1" i="1">
                <a:solidFill>
                  <a:srgbClr val="FAAA26"/>
                </a:solidFill>
                <a:latin typeface="Segoe Print" panose="02000600000000000000" pitchFamily="2" charset="0"/>
                <a:cs typeface="Segoe UI Semibold" panose="020B0702040204020203" pitchFamily="34" charset="0"/>
              </a:rPr>
              <a:t>– hub client</a:t>
            </a:r>
          </a:p>
        </p:txBody>
      </p:sp>
      <p:sp>
        <p:nvSpPr>
          <p:cNvPr id="19" name="TextBox 18">
            <a:extLst>
              <a:ext uri="{FF2B5EF4-FFF2-40B4-BE49-F238E27FC236}">
                <a16:creationId xmlns:a16="http://schemas.microsoft.com/office/drawing/2014/main" id="{D4AF2C85-C8DB-0AD7-9785-1996CE408DAE}"/>
              </a:ext>
            </a:extLst>
          </p:cNvPr>
          <p:cNvSpPr txBox="1"/>
          <p:nvPr/>
        </p:nvSpPr>
        <p:spPr>
          <a:xfrm>
            <a:off x="341354" y="4930696"/>
            <a:ext cx="3582019" cy="1091966"/>
          </a:xfrm>
          <a:prstGeom prst="rect">
            <a:avLst/>
          </a:prstGeom>
          <a:noFill/>
        </p:spPr>
        <p:txBody>
          <a:bodyPr wrap="square" lIns="0" tIns="0" rIns="0" bIns="0">
            <a:spAutoFit/>
          </a:bodyPr>
          <a:lstStyle/>
          <a:p>
            <a:pPr indent="-215900">
              <a:lnSpc>
                <a:spcPts val="1600"/>
              </a:lnSpc>
              <a:spcAft>
                <a:spcPts val="600"/>
              </a:spcAft>
            </a:pPr>
            <a:r>
              <a:rPr lang="en-AU" sz="1100" i="1">
                <a:solidFill>
                  <a:schemeClr val="bg1">
                    <a:lumMod val="100000"/>
                  </a:schemeClr>
                </a:solidFill>
                <a:latin typeface="Segoe UI" panose="020B0502040204020203" pitchFamily="34" charset="0"/>
                <a:cs typeface="Segoe UI" panose="020B0502040204020203" pitchFamily="34" charset="0"/>
              </a:rPr>
              <a:t>“They actually want to get to know you properly. As mob we need that cultural safety to move forward. […] They have a clear strong vision about how they operate and what they want for community.”</a:t>
            </a:r>
          </a:p>
          <a:p>
            <a:pPr indent="-215900">
              <a:lnSpc>
                <a:spcPts val="1600"/>
              </a:lnSpc>
              <a:spcAft>
                <a:spcPts val="600"/>
              </a:spcAft>
            </a:pPr>
            <a:r>
              <a:rPr lang="en-AU" sz="1050" b="1" i="1">
                <a:solidFill>
                  <a:srgbClr val="FAA926"/>
                </a:solidFill>
                <a:latin typeface="Segoe Print" panose="02000600000000000000" pitchFamily="2" charset="0"/>
                <a:cs typeface="Segoe UI Semibold" panose="020B0702040204020203" pitchFamily="34" charset="0"/>
              </a:rPr>
              <a:t>– hub partner</a:t>
            </a:r>
          </a:p>
        </p:txBody>
      </p:sp>
      <p:sp>
        <p:nvSpPr>
          <p:cNvPr id="20" name="TextBox 19">
            <a:extLst>
              <a:ext uri="{FF2B5EF4-FFF2-40B4-BE49-F238E27FC236}">
                <a16:creationId xmlns:a16="http://schemas.microsoft.com/office/drawing/2014/main" id="{825FF986-7E2A-B8AF-AFED-5C6313901143}"/>
              </a:ext>
            </a:extLst>
          </p:cNvPr>
          <p:cNvSpPr txBox="1"/>
          <p:nvPr/>
        </p:nvSpPr>
        <p:spPr>
          <a:xfrm>
            <a:off x="341353" y="6262954"/>
            <a:ext cx="3582019" cy="886781"/>
          </a:xfrm>
          <a:prstGeom prst="rect">
            <a:avLst/>
          </a:prstGeom>
          <a:noFill/>
        </p:spPr>
        <p:txBody>
          <a:bodyPr wrap="square" lIns="0" tIns="0" rIns="0" bIns="0">
            <a:spAutoFit/>
          </a:bodyPr>
          <a:lstStyle/>
          <a:p>
            <a:pPr indent="-215900">
              <a:lnSpc>
                <a:spcPts val="1600"/>
              </a:lnSpc>
              <a:spcAft>
                <a:spcPts val="600"/>
              </a:spcAft>
            </a:pPr>
            <a:r>
              <a:rPr lang="en-AU" sz="1100" i="1">
                <a:solidFill>
                  <a:schemeClr val="bg1">
                    <a:lumMod val="100000"/>
                  </a:schemeClr>
                </a:solidFill>
                <a:latin typeface="Segoe UI" panose="020B0502040204020203" pitchFamily="34" charset="0"/>
                <a:cs typeface="Segoe UI" panose="020B0502040204020203" pitchFamily="34" charset="0"/>
              </a:rPr>
              <a:t>“I think [the hub] leads with heart. They are people first and I think that’s why they have that magnetic effect on people – because they feel safe.” </a:t>
            </a:r>
          </a:p>
          <a:p>
            <a:pPr indent="-215900">
              <a:lnSpc>
                <a:spcPts val="1600"/>
              </a:lnSpc>
              <a:spcAft>
                <a:spcPts val="600"/>
              </a:spcAft>
            </a:pPr>
            <a:r>
              <a:rPr lang="en-AU" sz="1050" b="1" i="1">
                <a:solidFill>
                  <a:srgbClr val="FCBF31"/>
                </a:solidFill>
                <a:latin typeface="Segoe Print" panose="02000600000000000000" pitchFamily="2" charset="0"/>
                <a:cs typeface="Segoe UI Semibold" panose="020B0702040204020203" pitchFamily="34" charset="0"/>
              </a:rPr>
              <a:t>– hub client</a:t>
            </a:r>
          </a:p>
        </p:txBody>
      </p:sp>
      <p:pic>
        <p:nvPicPr>
          <p:cNvPr id="6" name="Graphic 5">
            <a:extLst>
              <a:ext uri="{FF2B5EF4-FFF2-40B4-BE49-F238E27FC236}">
                <a16:creationId xmlns:a16="http://schemas.microsoft.com/office/drawing/2014/main" id="{A46A1E49-8DF0-F0B9-4E99-9551D292D42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a:blip r:embed="rId5">
            <a:alphaModFix amt="15000"/>
            <a:extLst>
              <a:ext uri="{96DAC541-7B7A-43D3-8B79-37D633B846F1}">
                <asvg:svgBlip xmlns:asvg="http://schemas.microsoft.com/office/drawing/2016/SVG/main" r:embed="rId6"/>
              </a:ext>
            </a:extLst>
          </a:blip>
          <a:stretch>
            <a:fillRect/>
          </a:stretch>
        </p:blipFill>
        <p:spPr>
          <a:xfrm>
            <a:off x="7576009" y="0"/>
            <a:ext cx="3110332" cy="7559675"/>
          </a:xfrm>
          <a:prstGeom prst="rect">
            <a:avLst/>
          </a:prstGeom>
        </p:spPr>
      </p:pic>
      <p:sp>
        <p:nvSpPr>
          <p:cNvPr id="9" name="Rectangle 8">
            <a:extLst>
              <a:ext uri="{FF2B5EF4-FFF2-40B4-BE49-F238E27FC236}">
                <a16:creationId xmlns:a16="http://schemas.microsoft.com/office/drawing/2014/main" id="{21F9145F-7F9B-0E8F-F4CF-13AE94960C0E}"/>
              </a:ext>
            </a:extLst>
          </p:cNvPr>
          <p:cNvSpPr/>
          <p:nvPr/>
        </p:nvSpPr>
        <p:spPr>
          <a:xfrm>
            <a:off x="5204226" y="367337"/>
            <a:ext cx="3141988" cy="211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1205793"/>
            <a:r>
              <a:rPr lang="en-AU" b="1" dirty="0">
                <a:solidFill>
                  <a:schemeClr val="bg2">
                    <a:lumMod val="100000"/>
                  </a:schemeClr>
                </a:solidFill>
                <a:latin typeface="+mj-lt"/>
              </a:rPr>
              <a:t>Survey results</a:t>
            </a:r>
          </a:p>
        </p:txBody>
      </p:sp>
      <p:sp>
        <p:nvSpPr>
          <p:cNvPr id="8" name="TextBox 7">
            <a:extLst>
              <a:ext uri="{FF2B5EF4-FFF2-40B4-BE49-F238E27FC236}">
                <a16:creationId xmlns:a16="http://schemas.microsoft.com/office/drawing/2014/main" id="{8A89DBEF-7853-A682-0D24-3A9B349DD2E0}"/>
              </a:ext>
            </a:extLst>
          </p:cNvPr>
          <p:cNvSpPr txBox="1"/>
          <p:nvPr/>
        </p:nvSpPr>
        <p:spPr>
          <a:xfrm>
            <a:off x="5204226" y="673416"/>
            <a:ext cx="4874037" cy="436979"/>
          </a:xfrm>
          <a:prstGeom prst="rect">
            <a:avLst/>
          </a:prstGeom>
          <a:noFill/>
        </p:spPr>
        <p:txBody>
          <a:bodyPr wrap="square" lIns="0">
            <a:spAutoFit/>
          </a:bodyPr>
          <a:lstStyle/>
          <a:p>
            <a:pPr>
              <a:lnSpc>
                <a:spcPts val="1400"/>
              </a:lnSpc>
              <a:spcAft>
                <a:spcPts val="300"/>
              </a:spcAft>
            </a:pPr>
            <a:r>
              <a:rPr lang="en-AU" sz="1050" dirty="0">
                <a:solidFill>
                  <a:schemeClr val="bg2">
                    <a:lumMod val="100000"/>
                  </a:schemeClr>
                </a:solidFill>
                <a:cs typeface="Segoe UI Light" panose="020B0502040204020203" pitchFamily="34" charset="0"/>
              </a:rPr>
              <a:t>The evaluation </a:t>
            </a:r>
            <a:r>
              <a:rPr lang="en-AU" sz="1050" dirty="0">
                <a:solidFill>
                  <a:schemeClr val="bg2"/>
                </a:solidFill>
                <a:cs typeface="Segoe UI Light" panose="020B0502040204020203" pitchFamily="34" charset="0"/>
              </a:rPr>
              <a:t>involved</a:t>
            </a:r>
            <a:r>
              <a:rPr lang="en-AU" sz="1050" dirty="0">
                <a:solidFill>
                  <a:schemeClr val="bg2">
                    <a:lumMod val="100000"/>
                  </a:schemeClr>
                </a:solidFill>
                <a:cs typeface="Segoe UI Light" panose="020B0502040204020203" pitchFamily="34" charset="0"/>
              </a:rPr>
              <a:t> a survey of hub clients. Across the four hubs, </a:t>
            </a:r>
            <a:r>
              <a:rPr lang="en-AU" sz="1050" b="1" dirty="0">
                <a:solidFill>
                  <a:schemeClr val="bg2">
                    <a:lumMod val="100000"/>
                  </a:schemeClr>
                </a:solidFill>
                <a:latin typeface="+mj-lt"/>
                <a:cs typeface="Segoe UI Semibold" panose="020B0702040204020203" pitchFamily="34" charset="0"/>
              </a:rPr>
              <a:t>116 clients completed the survey</a:t>
            </a:r>
            <a:r>
              <a:rPr lang="en-AU" sz="1050" b="1" dirty="0">
                <a:solidFill>
                  <a:schemeClr val="bg2">
                    <a:lumMod val="100000"/>
                  </a:schemeClr>
                </a:solidFill>
                <a:latin typeface="+mj-lt"/>
                <a:cs typeface="Segoe UI Light" panose="020B0502040204020203" pitchFamily="34" charset="0"/>
              </a:rPr>
              <a:t>.</a:t>
            </a:r>
          </a:p>
        </p:txBody>
      </p:sp>
      <p:sp>
        <p:nvSpPr>
          <p:cNvPr id="10" name="TextBox 9">
            <a:extLst>
              <a:ext uri="{FF2B5EF4-FFF2-40B4-BE49-F238E27FC236}">
                <a16:creationId xmlns:a16="http://schemas.microsoft.com/office/drawing/2014/main" id="{BEB52DAB-F62E-87CD-313D-F856468D2208}"/>
              </a:ext>
            </a:extLst>
          </p:cNvPr>
          <p:cNvSpPr txBox="1"/>
          <p:nvPr/>
        </p:nvSpPr>
        <p:spPr>
          <a:xfrm>
            <a:off x="5204226" y="1296458"/>
            <a:ext cx="4522513" cy="276999"/>
          </a:xfrm>
          <a:prstGeom prst="rect">
            <a:avLst/>
          </a:prstGeom>
          <a:noFill/>
        </p:spPr>
        <p:txBody>
          <a:bodyPr wrap="square" lIns="0" rIns="0">
            <a:spAutoFit/>
          </a:bodyPr>
          <a:lstStyle/>
          <a:p>
            <a:pPr>
              <a:spcAft>
                <a:spcPts val="300"/>
              </a:spcAft>
            </a:pPr>
            <a:r>
              <a:rPr lang="en-AU" sz="1200" b="1">
                <a:solidFill>
                  <a:schemeClr val="bg2">
                    <a:lumMod val="100000"/>
                  </a:schemeClr>
                </a:solidFill>
                <a:latin typeface="Segoe Print" panose="02000600000000000000" pitchFamily="2" charset="0"/>
                <a:cs typeface="Segoe UI Light" panose="020B0502040204020203" pitchFamily="34" charset="0"/>
              </a:rPr>
              <a:t>The hub’s services meet my needs as a business owner</a:t>
            </a:r>
          </a:p>
        </p:txBody>
      </p:sp>
      <p:sp>
        <p:nvSpPr>
          <p:cNvPr id="128" name="TextBox 127">
            <a:extLst>
              <a:ext uri="{FF2B5EF4-FFF2-40B4-BE49-F238E27FC236}">
                <a16:creationId xmlns:a16="http://schemas.microsoft.com/office/drawing/2014/main" id="{C8CD3308-13B7-60CB-6F21-54F9D450ED74}"/>
              </a:ext>
            </a:extLst>
          </p:cNvPr>
          <p:cNvSpPr txBox="1"/>
          <p:nvPr/>
        </p:nvSpPr>
        <p:spPr>
          <a:xfrm>
            <a:off x="5181624" y="2946748"/>
            <a:ext cx="848641" cy="400110"/>
          </a:xfrm>
          <a:prstGeom prst="rect">
            <a:avLst/>
          </a:prstGeom>
          <a:noFill/>
        </p:spPr>
        <p:txBody>
          <a:bodyPr wrap="square" lIns="0" rIns="0">
            <a:spAutoFit/>
          </a:bodyPr>
          <a:lstStyle/>
          <a:p>
            <a:pPr algn="r">
              <a:spcAft>
                <a:spcPts val="300"/>
              </a:spcAft>
            </a:pPr>
            <a:r>
              <a:rPr lang="en-AU" sz="1000">
                <a:solidFill>
                  <a:schemeClr val="bg2">
                    <a:lumMod val="100000"/>
                  </a:schemeClr>
                </a:solidFill>
                <a:latin typeface="+mj-lt"/>
                <a:cs typeface="Segoe UI Light" panose="020B0502040204020203" pitchFamily="34" charset="0"/>
              </a:rPr>
              <a:t>Strongly agree</a:t>
            </a:r>
          </a:p>
        </p:txBody>
      </p:sp>
      <p:sp>
        <p:nvSpPr>
          <p:cNvPr id="129" name="TextBox 128">
            <a:extLst>
              <a:ext uri="{FF2B5EF4-FFF2-40B4-BE49-F238E27FC236}">
                <a16:creationId xmlns:a16="http://schemas.microsoft.com/office/drawing/2014/main" id="{81F59A1A-3718-7DDA-1C8D-7478A6171777}"/>
              </a:ext>
            </a:extLst>
          </p:cNvPr>
          <p:cNvSpPr txBox="1"/>
          <p:nvPr/>
        </p:nvSpPr>
        <p:spPr>
          <a:xfrm>
            <a:off x="9361432" y="2987231"/>
            <a:ext cx="779944" cy="276999"/>
          </a:xfrm>
          <a:prstGeom prst="rect">
            <a:avLst/>
          </a:prstGeom>
          <a:noFill/>
        </p:spPr>
        <p:txBody>
          <a:bodyPr wrap="square" lIns="0" rIns="0">
            <a:spAutoFit/>
          </a:bodyPr>
          <a:lstStyle/>
          <a:p>
            <a:pPr>
              <a:spcAft>
                <a:spcPts val="300"/>
              </a:spcAft>
            </a:pPr>
            <a:r>
              <a:rPr lang="en-AU" sz="1200">
                <a:solidFill>
                  <a:schemeClr val="accent2"/>
                </a:solidFill>
                <a:latin typeface="+mj-lt"/>
                <a:cs typeface="Segoe UI Light" panose="020B0502040204020203" pitchFamily="34" charset="0"/>
              </a:rPr>
              <a:t>52 (45%)</a:t>
            </a:r>
          </a:p>
        </p:txBody>
      </p:sp>
      <p:sp>
        <p:nvSpPr>
          <p:cNvPr id="74" name="TextBox 73">
            <a:extLst>
              <a:ext uri="{FF2B5EF4-FFF2-40B4-BE49-F238E27FC236}">
                <a16:creationId xmlns:a16="http://schemas.microsoft.com/office/drawing/2014/main" id="{76DB6C88-7C52-5689-80E2-BB9520A37040}"/>
              </a:ext>
            </a:extLst>
          </p:cNvPr>
          <p:cNvSpPr txBox="1"/>
          <p:nvPr/>
        </p:nvSpPr>
        <p:spPr>
          <a:xfrm>
            <a:off x="5181624" y="2695448"/>
            <a:ext cx="848641" cy="246221"/>
          </a:xfrm>
          <a:prstGeom prst="rect">
            <a:avLst/>
          </a:prstGeom>
          <a:noFill/>
        </p:spPr>
        <p:txBody>
          <a:bodyPr wrap="square" lIns="0" rIns="0">
            <a:spAutoFit/>
          </a:bodyPr>
          <a:lstStyle/>
          <a:p>
            <a:pPr algn="r">
              <a:spcAft>
                <a:spcPts val="300"/>
              </a:spcAft>
            </a:pPr>
            <a:r>
              <a:rPr lang="en-AU" sz="1000">
                <a:solidFill>
                  <a:schemeClr val="bg2">
                    <a:lumMod val="100000"/>
                  </a:schemeClr>
                </a:solidFill>
                <a:latin typeface="+mj-lt"/>
                <a:cs typeface="Segoe UI Light" panose="020B0502040204020203" pitchFamily="34" charset="0"/>
              </a:rPr>
              <a:t>Agree</a:t>
            </a:r>
          </a:p>
        </p:txBody>
      </p:sp>
      <p:sp>
        <p:nvSpPr>
          <p:cNvPr id="75" name="TextBox 74">
            <a:extLst>
              <a:ext uri="{FF2B5EF4-FFF2-40B4-BE49-F238E27FC236}">
                <a16:creationId xmlns:a16="http://schemas.microsoft.com/office/drawing/2014/main" id="{0D6B5359-4F57-E5B4-8278-2F51BC58CE56}"/>
              </a:ext>
            </a:extLst>
          </p:cNvPr>
          <p:cNvSpPr txBox="1"/>
          <p:nvPr/>
        </p:nvSpPr>
        <p:spPr>
          <a:xfrm>
            <a:off x="8384585" y="2680080"/>
            <a:ext cx="817418" cy="276999"/>
          </a:xfrm>
          <a:prstGeom prst="rect">
            <a:avLst/>
          </a:prstGeom>
          <a:noFill/>
        </p:spPr>
        <p:txBody>
          <a:bodyPr wrap="square" lIns="0" rIns="0">
            <a:spAutoFit/>
          </a:bodyPr>
          <a:lstStyle/>
          <a:p>
            <a:pPr>
              <a:spcAft>
                <a:spcPts val="300"/>
              </a:spcAft>
            </a:pPr>
            <a:r>
              <a:rPr lang="en-AU" sz="1200" dirty="0">
                <a:solidFill>
                  <a:schemeClr val="accent2"/>
                </a:solidFill>
                <a:latin typeface="+mj-lt"/>
                <a:cs typeface="Segoe UI Light" panose="020B0502040204020203" pitchFamily="34" charset="0"/>
              </a:rPr>
              <a:t>35 (30%)</a:t>
            </a:r>
          </a:p>
        </p:txBody>
      </p:sp>
      <p:sp>
        <p:nvSpPr>
          <p:cNvPr id="44" name="TextBox 43">
            <a:extLst>
              <a:ext uri="{FF2B5EF4-FFF2-40B4-BE49-F238E27FC236}">
                <a16:creationId xmlns:a16="http://schemas.microsoft.com/office/drawing/2014/main" id="{DAA21F7C-30D3-7F24-DB1B-D4CA44AA7858}"/>
              </a:ext>
            </a:extLst>
          </p:cNvPr>
          <p:cNvSpPr txBox="1"/>
          <p:nvPr/>
        </p:nvSpPr>
        <p:spPr>
          <a:xfrm>
            <a:off x="5181624" y="2290259"/>
            <a:ext cx="848641" cy="400110"/>
          </a:xfrm>
          <a:prstGeom prst="rect">
            <a:avLst/>
          </a:prstGeom>
          <a:noFill/>
        </p:spPr>
        <p:txBody>
          <a:bodyPr wrap="square" lIns="0" rIns="0">
            <a:spAutoFit/>
          </a:bodyPr>
          <a:lstStyle/>
          <a:p>
            <a:pPr algn="r">
              <a:spcAft>
                <a:spcPts val="300"/>
              </a:spcAft>
            </a:pPr>
            <a:r>
              <a:rPr lang="en-AU" sz="1000">
                <a:solidFill>
                  <a:schemeClr val="bg2">
                    <a:lumMod val="100000"/>
                  </a:schemeClr>
                </a:solidFill>
                <a:latin typeface="+mj-lt"/>
                <a:cs typeface="Segoe UI Light" panose="020B0502040204020203" pitchFamily="34" charset="0"/>
              </a:rPr>
              <a:t>Neither agree or disagree</a:t>
            </a:r>
          </a:p>
        </p:txBody>
      </p:sp>
      <p:sp>
        <p:nvSpPr>
          <p:cNvPr id="45" name="TextBox 44">
            <a:extLst>
              <a:ext uri="{FF2B5EF4-FFF2-40B4-BE49-F238E27FC236}">
                <a16:creationId xmlns:a16="http://schemas.microsoft.com/office/drawing/2014/main" id="{0B6FFCD4-C78F-1A96-8E03-C267D36F38B5}"/>
              </a:ext>
            </a:extLst>
          </p:cNvPr>
          <p:cNvSpPr txBox="1"/>
          <p:nvPr/>
        </p:nvSpPr>
        <p:spPr>
          <a:xfrm>
            <a:off x="7314835" y="2359520"/>
            <a:ext cx="789927" cy="276999"/>
          </a:xfrm>
          <a:prstGeom prst="rect">
            <a:avLst/>
          </a:prstGeom>
          <a:noFill/>
        </p:spPr>
        <p:txBody>
          <a:bodyPr wrap="square" lIns="0" rIns="0">
            <a:spAutoFit/>
          </a:bodyPr>
          <a:lstStyle/>
          <a:p>
            <a:pPr>
              <a:spcAft>
                <a:spcPts val="300"/>
              </a:spcAft>
            </a:pPr>
            <a:r>
              <a:rPr lang="en-AU" sz="1200">
                <a:solidFill>
                  <a:schemeClr val="bg2">
                    <a:lumMod val="100000"/>
                  </a:schemeClr>
                </a:solidFill>
                <a:latin typeface="+mj-lt"/>
                <a:cs typeface="Segoe UI Light" panose="020B0502040204020203" pitchFamily="34" charset="0"/>
              </a:rPr>
              <a:t>18 (16%)</a:t>
            </a:r>
          </a:p>
        </p:txBody>
      </p:sp>
      <p:sp>
        <p:nvSpPr>
          <p:cNvPr id="28" name="TextBox 27">
            <a:extLst>
              <a:ext uri="{FF2B5EF4-FFF2-40B4-BE49-F238E27FC236}">
                <a16:creationId xmlns:a16="http://schemas.microsoft.com/office/drawing/2014/main" id="{9DCD011C-E504-AC02-9019-AC94D139B9D8}"/>
              </a:ext>
              <a:ext uri="{C183D7F6-B498-43B3-948B-1728B52AA6E4}">
                <adec:decorative xmlns:adec="http://schemas.microsoft.com/office/drawing/2017/decorative" val="0"/>
              </a:ext>
            </a:extLst>
          </p:cNvPr>
          <p:cNvSpPr txBox="1"/>
          <p:nvPr/>
        </p:nvSpPr>
        <p:spPr>
          <a:xfrm>
            <a:off x="5181624" y="2038959"/>
            <a:ext cx="848641" cy="246221"/>
          </a:xfrm>
          <a:prstGeom prst="rect">
            <a:avLst/>
          </a:prstGeom>
          <a:noFill/>
        </p:spPr>
        <p:txBody>
          <a:bodyPr wrap="square" lIns="0" rIns="0">
            <a:spAutoFit/>
          </a:bodyPr>
          <a:lstStyle/>
          <a:p>
            <a:pPr algn="r">
              <a:spcAft>
                <a:spcPts val="300"/>
              </a:spcAft>
            </a:pPr>
            <a:r>
              <a:rPr lang="en-AU" sz="1000">
                <a:solidFill>
                  <a:schemeClr val="bg2">
                    <a:lumMod val="100000"/>
                  </a:schemeClr>
                </a:solidFill>
                <a:latin typeface="+mj-lt"/>
                <a:cs typeface="Segoe UI Light" panose="020B0502040204020203" pitchFamily="34" charset="0"/>
              </a:rPr>
              <a:t>Disagree</a:t>
            </a:r>
          </a:p>
        </p:txBody>
      </p:sp>
      <p:sp>
        <p:nvSpPr>
          <p:cNvPr id="29" name="TextBox 28">
            <a:extLst>
              <a:ext uri="{FF2B5EF4-FFF2-40B4-BE49-F238E27FC236}">
                <a16:creationId xmlns:a16="http://schemas.microsoft.com/office/drawing/2014/main" id="{A20BAF16-D55E-9341-6DE9-25332E4FF2CF}"/>
              </a:ext>
              <a:ext uri="{C183D7F6-B498-43B3-948B-1728B52AA6E4}">
                <adec:decorative xmlns:adec="http://schemas.microsoft.com/office/drawing/2017/decorative" val="0"/>
              </a:ext>
            </a:extLst>
          </p:cNvPr>
          <p:cNvSpPr txBox="1"/>
          <p:nvPr/>
        </p:nvSpPr>
        <p:spPr>
          <a:xfrm>
            <a:off x="6839582" y="2023591"/>
            <a:ext cx="637674" cy="276999"/>
          </a:xfrm>
          <a:prstGeom prst="rect">
            <a:avLst/>
          </a:prstGeom>
          <a:noFill/>
        </p:spPr>
        <p:txBody>
          <a:bodyPr wrap="square" lIns="0" rIns="0">
            <a:spAutoFit/>
          </a:bodyPr>
          <a:lstStyle/>
          <a:p>
            <a:pPr>
              <a:spcAft>
                <a:spcPts val="300"/>
              </a:spcAft>
            </a:pPr>
            <a:r>
              <a:rPr lang="en-AU" sz="1200">
                <a:solidFill>
                  <a:schemeClr val="bg2">
                    <a:lumMod val="100000"/>
                  </a:schemeClr>
                </a:solidFill>
                <a:latin typeface="+mj-lt"/>
                <a:cs typeface="Segoe UI Light" panose="020B0502040204020203" pitchFamily="34" charset="0"/>
              </a:rPr>
              <a:t>9 (8%)</a:t>
            </a:r>
          </a:p>
        </p:txBody>
      </p:sp>
      <p:sp>
        <p:nvSpPr>
          <p:cNvPr id="23" name="TextBox 22">
            <a:extLst>
              <a:ext uri="{FF2B5EF4-FFF2-40B4-BE49-F238E27FC236}">
                <a16:creationId xmlns:a16="http://schemas.microsoft.com/office/drawing/2014/main" id="{F3170500-5020-D478-AA94-85E4F1E81E7F}"/>
              </a:ext>
            </a:extLst>
          </p:cNvPr>
          <p:cNvSpPr txBox="1"/>
          <p:nvPr/>
        </p:nvSpPr>
        <p:spPr>
          <a:xfrm>
            <a:off x="5024160" y="1633770"/>
            <a:ext cx="1006106" cy="400110"/>
          </a:xfrm>
          <a:prstGeom prst="rect">
            <a:avLst/>
          </a:prstGeom>
          <a:noFill/>
        </p:spPr>
        <p:txBody>
          <a:bodyPr wrap="square" lIns="0" rIns="0">
            <a:spAutoFit/>
          </a:bodyPr>
          <a:lstStyle/>
          <a:p>
            <a:pPr algn="r">
              <a:spcAft>
                <a:spcPts val="300"/>
              </a:spcAft>
            </a:pPr>
            <a:r>
              <a:rPr lang="en-AU" sz="1000">
                <a:solidFill>
                  <a:schemeClr val="bg2">
                    <a:lumMod val="100000"/>
                  </a:schemeClr>
                </a:solidFill>
                <a:latin typeface="+mj-lt"/>
                <a:cs typeface="Segoe UI Light" panose="020B0502040204020203" pitchFamily="34" charset="0"/>
              </a:rPr>
              <a:t>Strongly disagree</a:t>
            </a:r>
          </a:p>
        </p:txBody>
      </p:sp>
      <p:sp>
        <p:nvSpPr>
          <p:cNvPr id="24" name="TextBox 23">
            <a:extLst>
              <a:ext uri="{FF2B5EF4-FFF2-40B4-BE49-F238E27FC236}">
                <a16:creationId xmlns:a16="http://schemas.microsoft.com/office/drawing/2014/main" id="{4AEC8AF3-8696-D2AC-ABD9-D825D12E4559}"/>
              </a:ext>
            </a:extLst>
          </p:cNvPr>
          <p:cNvSpPr txBox="1"/>
          <p:nvPr/>
        </p:nvSpPr>
        <p:spPr>
          <a:xfrm>
            <a:off x="6368409" y="1695347"/>
            <a:ext cx="650056" cy="276999"/>
          </a:xfrm>
          <a:prstGeom prst="rect">
            <a:avLst/>
          </a:prstGeom>
          <a:noFill/>
        </p:spPr>
        <p:txBody>
          <a:bodyPr wrap="square" lIns="0" rIns="0">
            <a:spAutoFit/>
          </a:bodyPr>
          <a:lstStyle/>
          <a:p>
            <a:pPr>
              <a:spcAft>
                <a:spcPts val="300"/>
              </a:spcAft>
            </a:pPr>
            <a:r>
              <a:rPr lang="en-AU" sz="1200">
                <a:solidFill>
                  <a:schemeClr val="bg2">
                    <a:lumMod val="100000"/>
                  </a:schemeClr>
                </a:solidFill>
                <a:latin typeface="+mj-lt"/>
                <a:cs typeface="Segoe UI Light" panose="020B0502040204020203" pitchFamily="34" charset="0"/>
              </a:rPr>
              <a:t>2 (2%)</a:t>
            </a:r>
          </a:p>
        </p:txBody>
      </p:sp>
      <p:sp>
        <p:nvSpPr>
          <p:cNvPr id="7" name="Text Placeholder 4">
            <a:extLst>
              <a:ext uri="{FF2B5EF4-FFF2-40B4-BE49-F238E27FC236}">
                <a16:creationId xmlns:a16="http://schemas.microsoft.com/office/drawing/2014/main" id="{0EE92205-CA09-65A3-F05B-D15F37BC4A94}"/>
              </a:ext>
            </a:extLst>
          </p:cNvPr>
          <p:cNvSpPr txBox="1">
            <a:spLocks/>
          </p:cNvSpPr>
          <p:nvPr/>
        </p:nvSpPr>
        <p:spPr>
          <a:xfrm>
            <a:off x="5204226" y="3434987"/>
            <a:ext cx="4658407" cy="215429"/>
          </a:xfrm>
          <a:prstGeom prst="rect">
            <a:avLst/>
          </a:prstGeom>
        </p:spPr>
        <p:txBody>
          <a:bodyPr vert="horz" wrap="square" lIns="0" tIns="45713" rIns="0" bIns="45713" rtlCol="0" anchor="ctr">
            <a:spAutoFit/>
          </a:bodyPr>
          <a:lstStyle>
            <a:lvl1pPr marL="0" indent="0" algn="l" defTabSz="914349" rtl="0" eaLnBrk="1" latinLnBrk="0" hangingPunct="1">
              <a:spcBef>
                <a:spcPts val="1200"/>
              </a:spcBef>
              <a:buFont typeface="Arial" pitchFamily="34" charset="0"/>
              <a:buNone/>
              <a:defRPr sz="12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Tx/>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Tx/>
              <a:buFont typeface="Segoe UI" panose="020B0502040204020203"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Tx/>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Tx/>
              <a:buFont typeface="Segoe UI" panose="020B0502040204020203"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AU" sz="800">
                <a:solidFill>
                  <a:schemeClr val="bg2">
                    <a:lumMod val="100000"/>
                  </a:schemeClr>
                </a:solidFill>
              </a:rPr>
              <a:t>Source: Evaluation of the Indigenous Business and Employment Hubs, Survey of hub clients, July 2024</a:t>
            </a:r>
          </a:p>
        </p:txBody>
      </p:sp>
      <p:cxnSp>
        <p:nvCxnSpPr>
          <p:cNvPr id="11" name="Straight Connector 10">
            <a:extLst>
              <a:ext uri="{FF2B5EF4-FFF2-40B4-BE49-F238E27FC236}">
                <a16:creationId xmlns:a16="http://schemas.microsoft.com/office/drawing/2014/main" id="{0E3362EF-1EA4-DC06-19D0-86D519D98FFD}"/>
              </a:ext>
              <a:ext uri="{C183D7F6-B498-43B3-948B-1728B52AA6E4}">
                <adec:decorative xmlns:adec="http://schemas.microsoft.com/office/drawing/2017/decorative" val="1"/>
              </a:ext>
            </a:extLst>
          </p:cNvPr>
          <p:cNvCxnSpPr>
            <a:cxnSpLocks/>
          </p:cNvCxnSpPr>
          <p:nvPr/>
        </p:nvCxnSpPr>
        <p:spPr>
          <a:xfrm>
            <a:off x="6132272" y="1633770"/>
            <a:ext cx="0" cy="168586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1418F96-F58E-D921-081C-9AC5462C7CB0}"/>
              </a:ext>
            </a:extLst>
          </p:cNvPr>
          <p:cNvSpPr txBox="1"/>
          <p:nvPr/>
        </p:nvSpPr>
        <p:spPr>
          <a:xfrm>
            <a:off x="5204226" y="3836446"/>
            <a:ext cx="4331491" cy="477054"/>
          </a:xfrm>
          <a:prstGeom prst="rect">
            <a:avLst/>
          </a:prstGeom>
          <a:noFill/>
        </p:spPr>
        <p:txBody>
          <a:bodyPr wrap="square" lIns="0" rIns="0">
            <a:spAutoFit/>
          </a:bodyPr>
          <a:lstStyle/>
          <a:p>
            <a:pPr>
              <a:spcAft>
                <a:spcPts val="300"/>
              </a:spcAft>
            </a:pPr>
            <a:r>
              <a:rPr lang="en-AU" sz="1400" b="1" spc="-100" dirty="0">
                <a:ln w="0">
                  <a:noFill/>
                </a:ln>
                <a:solidFill>
                  <a:schemeClr val="accent2"/>
                </a:solidFill>
                <a:latin typeface="Segoe Print" panose="02000600000000000000" pitchFamily="2" charset="0"/>
                <a:cs typeface="Segoe UI Light" panose="020B0502040204020203" pitchFamily="34" charset="0"/>
              </a:rPr>
              <a:t>75% </a:t>
            </a:r>
            <a:r>
              <a:rPr lang="en-AU" sz="1100" b="1" dirty="0">
                <a:solidFill>
                  <a:schemeClr val="accent2"/>
                </a:solidFill>
                <a:latin typeface="+mj-lt"/>
                <a:cs typeface="Segoe UI Light" panose="020B0502040204020203" pitchFamily="34" charset="0"/>
              </a:rPr>
              <a:t>of survey respondents strongly agreed or agreed that their hub’s services were meeting their needs as a business owner.</a:t>
            </a:r>
          </a:p>
        </p:txBody>
      </p:sp>
      <p:sp>
        <p:nvSpPr>
          <p:cNvPr id="13" name="Rectangle 12">
            <a:extLst>
              <a:ext uri="{FF2B5EF4-FFF2-40B4-BE49-F238E27FC236}">
                <a16:creationId xmlns:a16="http://schemas.microsoft.com/office/drawing/2014/main" id="{0B1B925B-BAD7-BC66-C412-F08961952432}"/>
              </a:ext>
            </a:extLst>
          </p:cNvPr>
          <p:cNvSpPr/>
          <p:nvPr/>
        </p:nvSpPr>
        <p:spPr>
          <a:xfrm>
            <a:off x="5204226" y="4370853"/>
            <a:ext cx="5039728" cy="555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nSpc>
                <a:spcPct val="107000"/>
              </a:lnSpc>
              <a:spcBef>
                <a:spcPts val="600"/>
              </a:spcBef>
            </a:pPr>
            <a:r>
              <a:rPr lang="en-AU" sz="1050" dirty="0">
                <a:solidFill>
                  <a:schemeClr val="bg2">
                    <a:lumMod val="100000"/>
                  </a:schemeClr>
                </a:solidFill>
                <a:latin typeface="+mj-lt"/>
                <a:cs typeface="Segoe UI Light" panose="020B0502040204020203" pitchFamily="34" charset="0"/>
              </a:rPr>
              <a:t>Clients found the most valuable services to be: </a:t>
            </a:r>
            <a:r>
              <a:rPr lang="en-AU" sz="1050" dirty="0">
                <a:solidFill>
                  <a:schemeClr val="bg2">
                    <a:lumMod val="100000"/>
                  </a:schemeClr>
                </a:solidFill>
                <a:cs typeface="Segoe UI Light" panose="020B0502040204020203" pitchFamily="34" charset="0"/>
              </a:rPr>
              <a:t>mentoring and advice; having someone to speak to about their challenges; practical information </a:t>
            </a:r>
            <a:r>
              <a:rPr lang="en-AU" sz="1050" dirty="0">
                <a:solidFill>
                  <a:schemeClr val="bg2"/>
                </a:solidFill>
                <a:cs typeface="Segoe UI Light" panose="020B0502040204020203" pitchFamily="34" charset="0"/>
              </a:rPr>
              <a:t>provided</a:t>
            </a:r>
            <a:r>
              <a:rPr lang="en-AU" sz="1050" dirty="0">
                <a:solidFill>
                  <a:schemeClr val="bg2">
                    <a:lumMod val="100000"/>
                  </a:schemeClr>
                </a:solidFill>
                <a:cs typeface="Segoe UI Light" panose="020B0502040204020203" pitchFamily="34" charset="0"/>
              </a:rPr>
              <a:t>; referrals to other services; </a:t>
            </a:r>
            <a:r>
              <a:rPr lang="en-AU" sz="1050" dirty="0">
                <a:solidFill>
                  <a:schemeClr val="bg2"/>
                </a:solidFill>
                <a:cs typeface="Segoe UI Light" panose="020B0502040204020203" pitchFamily="34" charset="0"/>
              </a:rPr>
              <a:t>networking opportunities / connecting their business to buyers; and access to a working space</a:t>
            </a:r>
          </a:p>
        </p:txBody>
      </p:sp>
      <p:sp>
        <p:nvSpPr>
          <p:cNvPr id="14" name="TextBox 13">
            <a:extLst>
              <a:ext uri="{FF2B5EF4-FFF2-40B4-BE49-F238E27FC236}">
                <a16:creationId xmlns:a16="http://schemas.microsoft.com/office/drawing/2014/main" id="{5ECC8B98-DD90-B217-46DB-9A427CD45225}"/>
              </a:ext>
            </a:extLst>
          </p:cNvPr>
          <p:cNvSpPr txBox="1"/>
          <p:nvPr/>
        </p:nvSpPr>
        <p:spPr>
          <a:xfrm>
            <a:off x="5204225" y="5278533"/>
            <a:ext cx="4522513" cy="477054"/>
          </a:xfrm>
          <a:prstGeom prst="rect">
            <a:avLst/>
          </a:prstGeom>
          <a:noFill/>
        </p:spPr>
        <p:txBody>
          <a:bodyPr wrap="square" lIns="0" rIns="0">
            <a:spAutoFit/>
          </a:bodyPr>
          <a:lstStyle/>
          <a:p>
            <a:pPr>
              <a:spcAft>
                <a:spcPts val="300"/>
              </a:spcAft>
            </a:pPr>
            <a:r>
              <a:rPr lang="en-AU" sz="1400" b="1" dirty="0">
                <a:ln w="0">
                  <a:noFill/>
                </a:ln>
                <a:solidFill>
                  <a:schemeClr val="bg2">
                    <a:lumMod val="100000"/>
                  </a:schemeClr>
                </a:solidFill>
                <a:latin typeface="Segoe Print" panose="02000600000000000000" pitchFamily="2" charset="0"/>
                <a:cs typeface="Segoe UI Light" panose="020B0502040204020203" pitchFamily="34" charset="0"/>
              </a:rPr>
              <a:t>25% </a:t>
            </a:r>
            <a:r>
              <a:rPr lang="en-AU" sz="1100" b="1" dirty="0">
                <a:solidFill>
                  <a:schemeClr val="bg2">
                    <a:lumMod val="100000"/>
                  </a:schemeClr>
                </a:solidFill>
                <a:latin typeface="+mj-lt"/>
                <a:cs typeface="Segoe UI Light" panose="020B0502040204020203" pitchFamily="34" charset="0"/>
              </a:rPr>
              <a:t>of survey respondents did not agree that the hub’s services were meeting their needs as a business owner</a:t>
            </a:r>
          </a:p>
        </p:txBody>
      </p:sp>
      <p:sp>
        <p:nvSpPr>
          <p:cNvPr id="15" name="Rectangle 14">
            <a:extLst>
              <a:ext uri="{FF2B5EF4-FFF2-40B4-BE49-F238E27FC236}">
                <a16:creationId xmlns:a16="http://schemas.microsoft.com/office/drawing/2014/main" id="{27D88307-3367-3EDE-96DE-3A4BE0A866F9}"/>
              </a:ext>
            </a:extLst>
          </p:cNvPr>
          <p:cNvSpPr/>
          <p:nvPr/>
        </p:nvSpPr>
        <p:spPr>
          <a:xfrm>
            <a:off x="5204227" y="5764178"/>
            <a:ext cx="4937150" cy="1371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nSpc>
                <a:spcPct val="107000"/>
              </a:lnSpc>
              <a:spcBef>
                <a:spcPts val="600"/>
              </a:spcBef>
            </a:pPr>
            <a:r>
              <a:rPr lang="en-AU" sz="1050" dirty="0">
                <a:solidFill>
                  <a:schemeClr val="bg2">
                    <a:lumMod val="100000"/>
                  </a:schemeClr>
                </a:solidFill>
                <a:latin typeface="+mj-lt"/>
                <a:cs typeface="Segoe UI Light" panose="020B0502040204020203" pitchFamily="34" charset="0"/>
              </a:rPr>
              <a:t>Clients who felt that the hubs’ services do not meet their needs suggested this was because: </a:t>
            </a:r>
          </a:p>
          <a:p>
            <a:pPr marL="108000" indent="-108000">
              <a:lnSpc>
                <a:spcPct val="107000"/>
              </a:lnSpc>
              <a:spcBef>
                <a:spcPts val="300"/>
              </a:spcBef>
              <a:buFont typeface="Arial" panose="020B0604020202020204" pitchFamily="34" charset="0"/>
              <a:buChar char="•"/>
            </a:pPr>
            <a:r>
              <a:rPr lang="en-AU" sz="1050" dirty="0">
                <a:solidFill>
                  <a:schemeClr val="bg2">
                    <a:lumMod val="100000"/>
                  </a:schemeClr>
                </a:solidFill>
                <a:cs typeface="Segoe UI Light" panose="020B0502040204020203" pitchFamily="34" charset="0"/>
              </a:rPr>
              <a:t>the hubs do not provide direct access to </a:t>
            </a:r>
            <a:r>
              <a:rPr lang="en-AU" sz="1050" dirty="0">
                <a:solidFill>
                  <a:schemeClr val="bg2"/>
                </a:solidFill>
                <a:cs typeface="Segoe UI Light" panose="020B0502040204020203" pitchFamily="34" charset="0"/>
              </a:rPr>
              <a:t>capital / business finance</a:t>
            </a:r>
          </a:p>
          <a:p>
            <a:pPr marL="108000" indent="-108000">
              <a:lnSpc>
                <a:spcPct val="107000"/>
              </a:lnSpc>
              <a:spcBef>
                <a:spcPts val="300"/>
              </a:spcBef>
              <a:buFont typeface="Arial" panose="020B0604020202020204" pitchFamily="34" charset="0"/>
              <a:buChar char="•"/>
            </a:pPr>
            <a:r>
              <a:rPr lang="en-AU" sz="1050" dirty="0">
                <a:solidFill>
                  <a:schemeClr val="bg2">
                    <a:lumMod val="100000"/>
                  </a:schemeClr>
                </a:solidFill>
                <a:cs typeface="Segoe UI Light" panose="020B0502040204020203" pitchFamily="34" charset="0"/>
              </a:rPr>
              <a:t>business support staff were sometimes unavailable or slow to respond</a:t>
            </a:r>
          </a:p>
          <a:p>
            <a:pPr marL="108000" indent="-108000">
              <a:lnSpc>
                <a:spcPct val="107000"/>
              </a:lnSpc>
              <a:spcBef>
                <a:spcPts val="300"/>
              </a:spcBef>
              <a:buFont typeface="Arial" panose="020B0604020202020204" pitchFamily="34" charset="0"/>
              <a:buChar char="•"/>
            </a:pPr>
            <a:r>
              <a:rPr lang="en-AU" sz="1050" dirty="0">
                <a:solidFill>
                  <a:schemeClr val="bg2"/>
                </a:solidFill>
                <a:cs typeface="Segoe UI Light" panose="020B0502040204020203" pitchFamily="34" charset="0"/>
              </a:rPr>
              <a:t>the perception among some clients </a:t>
            </a:r>
            <a:r>
              <a:rPr lang="en-AU" sz="1050" dirty="0">
                <a:solidFill>
                  <a:schemeClr val="bg2">
                    <a:lumMod val="100000"/>
                  </a:schemeClr>
                </a:solidFill>
                <a:cs typeface="Segoe UI Light" panose="020B0502040204020203" pitchFamily="34" charset="0"/>
              </a:rPr>
              <a:t>that business support staff did not have the skills to support more established business owners </a:t>
            </a:r>
          </a:p>
          <a:p>
            <a:pPr marL="108000" indent="-108000">
              <a:lnSpc>
                <a:spcPct val="107000"/>
              </a:lnSpc>
              <a:spcBef>
                <a:spcPts val="300"/>
              </a:spcBef>
              <a:buFont typeface="Arial" panose="020B0604020202020204" pitchFamily="34" charset="0"/>
              <a:buChar char="•"/>
            </a:pPr>
            <a:r>
              <a:rPr lang="en-AU" sz="1050" dirty="0">
                <a:solidFill>
                  <a:schemeClr val="bg2"/>
                </a:solidFill>
                <a:cs typeface="Segoe UI Light" panose="020B0502040204020203" pitchFamily="34" charset="0"/>
              </a:rPr>
              <a:t>Some clients based in regional areas found the hubs hard to access</a:t>
            </a:r>
            <a:endParaRPr lang="en-AU" sz="1050" strike="sngStrike" dirty="0">
              <a:solidFill>
                <a:schemeClr val="bg2"/>
              </a:solidFill>
              <a:cs typeface="Segoe UI Light" panose="020B0502040204020203" pitchFamily="34" charset="0"/>
            </a:endParaRPr>
          </a:p>
        </p:txBody>
      </p:sp>
      <p:grpSp>
        <p:nvGrpSpPr>
          <p:cNvPr id="25" name="Group 24">
            <a:extLst>
              <a:ext uri="{FF2B5EF4-FFF2-40B4-BE49-F238E27FC236}">
                <a16:creationId xmlns:a16="http://schemas.microsoft.com/office/drawing/2014/main" id="{6C98A0F8-FE07-468A-320E-007E94DB015E}"/>
              </a:ext>
              <a:ext uri="{C183D7F6-B498-43B3-948B-1728B52AA6E4}">
                <adec:decorative xmlns:adec="http://schemas.microsoft.com/office/drawing/2017/decorative" val="1"/>
              </a:ext>
            </a:extLst>
          </p:cNvPr>
          <p:cNvGrpSpPr/>
          <p:nvPr/>
        </p:nvGrpSpPr>
        <p:grpSpPr>
          <a:xfrm>
            <a:off x="6198660" y="1722778"/>
            <a:ext cx="99972" cy="222095"/>
            <a:chOff x="6656498" y="1601074"/>
            <a:chExt cx="69994" cy="155497"/>
          </a:xfrm>
          <a:solidFill>
            <a:schemeClr val="bg2"/>
          </a:solidFill>
        </p:grpSpPr>
        <p:sp>
          <p:nvSpPr>
            <p:cNvPr id="26" name="Oval 25">
              <a:extLst>
                <a:ext uri="{FF2B5EF4-FFF2-40B4-BE49-F238E27FC236}">
                  <a16:creationId xmlns:a16="http://schemas.microsoft.com/office/drawing/2014/main" id="{62C9329F-236B-B752-1593-CE6C424484D9}"/>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Oval 26">
              <a:extLst>
                <a:ext uri="{FF2B5EF4-FFF2-40B4-BE49-F238E27FC236}">
                  <a16:creationId xmlns:a16="http://schemas.microsoft.com/office/drawing/2014/main" id="{8CA40E21-9F37-64D8-B34F-FEF02DCB1AA4}"/>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6EC376D5-5A1D-3A75-1BD1-A84E586484AC}"/>
              </a:ext>
              <a:ext uri="{C183D7F6-B498-43B3-948B-1728B52AA6E4}">
                <adec:decorative xmlns:adec="http://schemas.microsoft.com/office/drawing/2017/decorative" val="1"/>
              </a:ext>
            </a:extLst>
          </p:cNvPr>
          <p:cNvGrpSpPr/>
          <p:nvPr/>
        </p:nvGrpSpPr>
        <p:grpSpPr>
          <a:xfrm>
            <a:off x="6198660" y="2051022"/>
            <a:ext cx="565690" cy="222095"/>
            <a:chOff x="6554275" y="1961217"/>
            <a:chExt cx="565690" cy="222095"/>
          </a:xfrm>
          <a:solidFill>
            <a:schemeClr val="bg2"/>
          </a:solidFill>
        </p:grpSpPr>
        <p:grpSp>
          <p:nvGrpSpPr>
            <p:cNvPr id="31" name="Group 30">
              <a:extLst>
                <a:ext uri="{FF2B5EF4-FFF2-40B4-BE49-F238E27FC236}">
                  <a16:creationId xmlns:a16="http://schemas.microsoft.com/office/drawing/2014/main" id="{D18C9E71-1EDF-EDDF-893D-8BF4650B2411}"/>
                </a:ext>
              </a:extLst>
            </p:cNvPr>
            <p:cNvGrpSpPr/>
            <p:nvPr/>
          </p:nvGrpSpPr>
          <p:grpSpPr>
            <a:xfrm>
              <a:off x="6554275" y="1961217"/>
              <a:ext cx="99972" cy="222095"/>
              <a:chOff x="6656498" y="1601074"/>
              <a:chExt cx="69994" cy="155497"/>
            </a:xfrm>
            <a:grpFill/>
          </p:grpSpPr>
          <p:sp>
            <p:nvSpPr>
              <p:cNvPr id="42" name="Oval 41">
                <a:extLst>
                  <a:ext uri="{FF2B5EF4-FFF2-40B4-BE49-F238E27FC236}">
                    <a16:creationId xmlns:a16="http://schemas.microsoft.com/office/drawing/2014/main" id="{B36ED8B6-CE00-9BA5-DC70-7B2053DF2360}"/>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3" name="Oval 42">
                <a:extLst>
                  <a:ext uri="{FF2B5EF4-FFF2-40B4-BE49-F238E27FC236}">
                    <a16:creationId xmlns:a16="http://schemas.microsoft.com/office/drawing/2014/main" id="{E0CB78C5-591F-F514-1607-4263F3FC03B0}"/>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2" name="Group 31">
              <a:extLst>
                <a:ext uri="{FF2B5EF4-FFF2-40B4-BE49-F238E27FC236}">
                  <a16:creationId xmlns:a16="http://schemas.microsoft.com/office/drawing/2014/main" id="{6761971E-6FFA-7060-0D07-D9DB62199201}"/>
                </a:ext>
              </a:extLst>
            </p:cNvPr>
            <p:cNvGrpSpPr/>
            <p:nvPr/>
          </p:nvGrpSpPr>
          <p:grpSpPr>
            <a:xfrm>
              <a:off x="6673875" y="1961217"/>
              <a:ext cx="99972" cy="222095"/>
              <a:chOff x="6656498" y="1601074"/>
              <a:chExt cx="69994" cy="155497"/>
            </a:xfrm>
            <a:grpFill/>
          </p:grpSpPr>
          <p:sp>
            <p:nvSpPr>
              <p:cNvPr id="40" name="Oval 39">
                <a:extLst>
                  <a:ext uri="{FF2B5EF4-FFF2-40B4-BE49-F238E27FC236}">
                    <a16:creationId xmlns:a16="http://schemas.microsoft.com/office/drawing/2014/main" id="{6EE5B508-74C9-7D34-6A15-2D923CB121DC}"/>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 name="Oval 40">
                <a:extLst>
                  <a:ext uri="{FF2B5EF4-FFF2-40B4-BE49-F238E27FC236}">
                    <a16:creationId xmlns:a16="http://schemas.microsoft.com/office/drawing/2014/main" id="{AFBB82A9-698D-CEC8-2227-74C4B1A5E906}"/>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3" name="Group 32">
              <a:extLst>
                <a:ext uri="{FF2B5EF4-FFF2-40B4-BE49-F238E27FC236}">
                  <a16:creationId xmlns:a16="http://schemas.microsoft.com/office/drawing/2014/main" id="{468DEDE4-9734-AE54-0E7A-1E3CA2B0831A}"/>
                </a:ext>
              </a:extLst>
            </p:cNvPr>
            <p:cNvGrpSpPr/>
            <p:nvPr/>
          </p:nvGrpSpPr>
          <p:grpSpPr>
            <a:xfrm>
              <a:off x="6791940" y="1961217"/>
              <a:ext cx="99972" cy="222095"/>
              <a:chOff x="6656498" y="1601074"/>
              <a:chExt cx="69994" cy="155497"/>
            </a:xfrm>
            <a:grpFill/>
          </p:grpSpPr>
          <p:sp>
            <p:nvSpPr>
              <p:cNvPr id="38" name="Oval 37">
                <a:extLst>
                  <a:ext uri="{FF2B5EF4-FFF2-40B4-BE49-F238E27FC236}">
                    <a16:creationId xmlns:a16="http://schemas.microsoft.com/office/drawing/2014/main" id="{32F83A4F-7F88-9564-D643-7CD7A56DCC04}"/>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666BE826-8FDE-3382-D265-6253C3CE09B2}"/>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4" name="Group 33">
              <a:extLst>
                <a:ext uri="{FF2B5EF4-FFF2-40B4-BE49-F238E27FC236}">
                  <a16:creationId xmlns:a16="http://schemas.microsoft.com/office/drawing/2014/main" id="{600A0B3C-FC41-82B1-9633-26CE33F487CC}"/>
                </a:ext>
              </a:extLst>
            </p:cNvPr>
            <p:cNvGrpSpPr/>
            <p:nvPr/>
          </p:nvGrpSpPr>
          <p:grpSpPr>
            <a:xfrm>
              <a:off x="6909876" y="1961217"/>
              <a:ext cx="99972" cy="222095"/>
              <a:chOff x="6656498" y="1601074"/>
              <a:chExt cx="69994" cy="155497"/>
            </a:xfrm>
            <a:grpFill/>
          </p:grpSpPr>
          <p:sp>
            <p:nvSpPr>
              <p:cNvPr id="36" name="Oval 35">
                <a:extLst>
                  <a:ext uri="{FF2B5EF4-FFF2-40B4-BE49-F238E27FC236}">
                    <a16:creationId xmlns:a16="http://schemas.microsoft.com/office/drawing/2014/main" id="{EB19E616-B93E-0241-5546-F28BC089D1FA}"/>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7" name="Oval 36">
                <a:extLst>
                  <a:ext uri="{FF2B5EF4-FFF2-40B4-BE49-F238E27FC236}">
                    <a16:creationId xmlns:a16="http://schemas.microsoft.com/office/drawing/2014/main" id="{049E53B5-D044-8250-9B3E-17A432E12057}"/>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35" name="Oval 34">
              <a:extLst>
                <a:ext uri="{FF2B5EF4-FFF2-40B4-BE49-F238E27FC236}">
                  <a16:creationId xmlns:a16="http://schemas.microsoft.com/office/drawing/2014/main" id="{8494B46E-773B-DFCF-004F-A27898C8F5EF}"/>
                </a:ext>
              </a:extLst>
            </p:cNvPr>
            <p:cNvSpPr/>
            <p:nvPr/>
          </p:nvSpPr>
          <p:spPr>
            <a:xfrm>
              <a:off x="7019993" y="2022168"/>
              <a:ext cx="99972" cy="99972"/>
            </a:xfrm>
            <a:custGeom>
              <a:avLst/>
              <a:gdLst>
                <a:gd name="csX0" fmla="*/ 0 w 99972"/>
                <a:gd name="csY0" fmla="*/ 49986 h 99972"/>
                <a:gd name="csX1" fmla="*/ 49986 w 99972"/>
                <a:gd name="csY1" fmla="*/ 0 h 99972"/>
                <a:gd name="csX2" fmla="*/ 99972 w 99972"/>
                <a:gd name="csY2" fmla="*/ 49986 h 99972"/>
                <a:gd name="csX3" fmla="*/ 49986 w 99972"/>
                <a:gd name="csY3" fmla="*/ 99972 h 99972"/>
                <a:gd name="csX4" fmla="*/ 0 w 99972"/>
                <a:gd name="csY4" fmla="*/ 49986 h 99972"/>
              </a:gdLst>
              <a:ahLst/>
              <a:cxnLst>
                <a:cxn ang="0">
                  <a:pos x="csX0" y="csY0"/>
                </a:cxn>
                <a:cxn ang="0">
                  <a:pos x="csX1" y="csY1"/>
                </a:cxn>
                <a:cxn ang="0">
                  <a:pos x="csX2" y="csY2"/>
                </a:cxn>
                <a:cxn ang="0">
                  <a:pos x="csX3" y="csY3"/>
                </a:cxn>
                <a:cxn ang="0">
                  <a:pos x="csX4" y="csY4"/>
                </a:cxn>
              </a:cxnLst>
              <a:rect l="l" t="t" r="r" b="b"/>
              <a:pathLst>
                <a:path w="99972" h="99972" fill="none" extrusionOk="0">
                  <a:moveTo>
                    <a:pt x="0" y="49986"/>
                  </a:moveTo>
                  <a:cubicBezTo>
                    <a:pt x="1447" y="22551"/>
                    <a:pt x="24659" y="-4692"/>
                    <a:pt x="49986" y="0"/>
                  </a:cubicBezTo>
                  <a:cubicBezTo>
                    <a:pt x="73068" y="-693"/>
                    <a:pt x="98806" y="23477"/>
                    <a:pt x="99972" y="49986"/>
                  </a:cubicBezTo>
                  <a:cubicBezTo>
                    <a:pt x="99427" y="72397"/>
                    <a:pt x="75591" y="102755"/>
                    <a:pt x="49986" y="99972"/>
                  </a:cubicBezTo>
                  <a:cubicBezTo>
                    <a:pt x="24387" y="101096"/>
                    <a:pt x="3832" y="78514"/>
                    <a:pt x="0" y="49986"/>
                  </a:cubicBezTo>
                  <a:close/>
                </a:path>
                <a:path w="99972" h="99972" stroke="0" extrusionOk="0">
                  <a:moveTo>
                    <a:pt x="0" y="49986"/>
                  </a:moveTo>
                  <a:cubicBezTo>
                    <a:pt x="-2446" y="20870"/>
                    <a:pt x="19466" y="1093"/>
                    <a:pt x="49986" y="0"/>
                  </a:cubicBezTo>
                  <a:cubicBezTo>
                    <a:pt x="83179" y="1176"/>
                    <a:pt x="94758" y="22545"/>
                    <a:pt x="99972" y="49986"/>
                  </a:cubicBezTo>
                  <a:cubicBezTo>
                    <a:pt x="95876" y="81593"/>
                    <a:pt x="76940" y="103581"/>
                    <a:pt x="49986" y="99972"/>
                  </a:cubicBezTo>
                  <a:cubicBezTo>
                    <a:pt x="20400" y="98889"/>
                    <a:pt x="1498" y="78309"/>
                    <a:pt x="0" y="49986"/>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6" name="Group 45">
            <a:extLst>
              <a:ext uri="{FF2B5EF4-FFF2-40B4-BE49-F238E27FC236}">
                <a16:creationId xmlns:a16="http://schemas.microsoft.com/office/drawing/2014/main" id="{828674A2-CC8F-8AA8-5789-7974975C89DD}"/>
              </a:ext>
              <a:ext uri="{C183D7F6-B498-43B3-948B-1728B52AA6E4}">
                <adec:decorative xmlns:adec="http://schemas.microsoft.com/office/drawing/2017/decorative" val="1"/>
              </a:ext>
            </a:extLst>
          </p:cNvPr>
          <p:cNvGrpSpPr/>
          <p:nvPr/>
        </p:nvGrpSpPr>
        <p:grpSpPr>
          <a:xfrm>
            <a:off x="6198660" y="2379267"/>
            <a:ext cx="1056344" cy="222095"/>
            <a:chOff x="6554275" y="2343170"/>
            <a:chExt cx="1056344" cy="222095"/>
          </a:xfrm>
          <a:solidFill>
            <a:schemeClr val="bg2"/>
          </a:solidFill>
        </p:grpSpPr>
        <p:grpSp>
          <p:nvGrpSpPr>
            <p:cNvPr id="47" name="Group 46">
              <a:extLst>
                <a:ext uri="{FF2B5EF4-FFF2-40B4-BE49-F238E27FC236}">
                  <a16:creationId xmlns:a16="http://schemas.microsoft.com/office/drawing/2014/main" id="{600EE453-A732-9D55-B5DC-0EC50EBE4A75}"/>
                </a:ext>
              </a:extLst>
            </p:cNvPr>
            <p:cNvGrpSpPr/>
            <p:nvPr/>
          </p:nvGrpSpPr>
          <p:grpSpPr>
            <a:xfrm>
              <a:off x="6554275" y="2343170"/>
              <a:ext cx="99972" cy="222095"/>
              <a:chOff x="6656498" y="1601074"/>
              <a:chExt cx="69994" cy="155497"/>
            </a:xfrm>
            <a:grpFill/>
          </p:grpSpPr>
          <p:sp>
            <p:nvSpPr>
              <p:cNvPr id="72" name="Oval 71">
                <a:extLst>
                  <a:ext uri="{FF2B5EF4-FFF2-40B4-BE49-F238E27FC236}">
                    <a16:creationId xmlns:a16="http://schemas.microsoft.com/office/drawing/2014/main" id="{F88A7D3F-CD54-50BC-2C4A-090F93CDB04E}"/>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3" name="Oval 72">
                <a:extLst>
                  <a:ext uri="{FF2B5EF4-FFF2-40B4-BE49-F238E27FC236}">
                    <a16:creationId xmlns:a16="http://schemas.microsoft.com/office/drawing/2014/main" id="{2971066D-4493-BC60-83EA-1FB69A8F0000}"/>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8" name="Group 47">
              <a:extLst>
                <a:ext uri="{FF2B5EF4-FFF2-40B4-BE49-F238E27FC236}">
                  <a16:creationId xmlns:a16="http://schemas.microsoft.com/office/drawing/2014/main" id="{5C7CF78F-FCF0-5259-0686-85BCCC8973DF}"/>
                </a:ext>
              </a:extLst>
            </p:cNvPr>
            <p:cNvGrpSpPr/>
            <p:nvPr/>
          </p:nvGrpSpPr>
          <p:grpSpPr>
            <a:xfrm>
              <a:off x="6673345" y="2343170"/>
              <a:ext cx="99972" cy="222095"/>
              <a:chOff x="6656498" y="1601074"/>
              <a:chExt cx="69994" cy="155497"/>
            </a:xfrm>
            <a:grpFill/>
          </p:grpSpPr>
          <p:sp>
            <p:nvSpPr>
              <p:cNvPr id="70" name="Oval 69">
                <a:extLst>
                  <a:ext uri="{FF2B5EF4-FFF2-40B4-BE49-F238E27FC236}">
                    <a16:creationId xmlns:a16="http://schemas.microsoft.com/office/drawing/2014/main" id="{510014BD-3ACD-C80B-35F5-E455379F224A}"/>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1" name="Oval 70">
                <a:extLst>
                  <a:ext uri="{FF2B5EF4-FFF2-40B4-BE49-F238E27FC236}">
                    <a16:creationId xmlns:a16="http://schemas.microsoft.com/office/drawing/2014/main" id="{61F36FEE-1819-33E4-F2AC-3C641CFED19B}"/>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9" name="Group 48">
              <a:extLst>
                <a:ext uri="{FF2B5EF4-FFF2-40B4-BE49-F238E27FC236}">
                  <a16:creationId xmlns:a16="http://schemas.microsoft.com/office/drawing/2014/main" id="{6590E679-3EF3-214C-5B54-68B8422296BA}"/>
                </a:ext>
              </a:extLst>
            </p:cNvPr>
            <p:cNvGrpSpPr/>
            <p:nvPr/>
          </p:nvGrpSpPr>
          <p:grpSpPr>
            <a:xfrm>
              <a:off x="6792738" y="2343170"/>
              <a:ext cx="99972" cy="222095"/>
              <a:chOff x="6656498" y="1601074"/>
              <a:chExt cx="69994" cy="155497"/>
            </a:xfrm>
            <a:grpFill/>
          </p:grpSpPr>
          <p:sp>
            <p:nvSpPr>
              <p:cNvPr id="68" name="Oval 67">
                <a:extLst>
                  <a:ext uri="{FF2B5EF4-FFF2-40B4-BE49-F238E27FC236}">
                    <a16:creationId xmlns:a16="http://schemas.microsoft.com/office/drawing/2014/main" id="{AA738EF1-517D-7F95-94E3-95047552621E}"/>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9" name="Oval 68">
                <a:extLst>
                  <a:ext uri="{FF2B5EF4-FFF2-40B4-BE49-F238E27FC236}">
                    <a16:creationId xmlns:a16="http://schemas.microsoft.com/office/drawing/2014/main" id="{11C9F79C-B341-AE29-2263-09BF0277A17D}"/>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0" name="Group 49">
              <a:extLst>
                <a:ext uri="{FF2B5EF4-FFF2-40B4-BE49-F238E27FC236}">
                  <a16:creationId xmlns:a16="http://schemas.microsoft.com/office/drawing/2014/main" id="{D1EC8EF0-CF2D-E552-2212-D09188A6B497}"/>
                </a:ext>
              </a:extLst>
            </p:cNvPr>
            <p:cNvGrpSpPr/>
            <p:nvPr/>
          </p:nvGrpSpPr>
          <p:grpSpPr>
            <a:xfrm>
              <a:off x="6911264" y="2343170"/>
              <a:ext cx="99972" cy="222095"/>
              <a:chOff x="6656498" y="1601074"/>
              <a:chExt cx="69994" cy="155497"/>
            </a:xfrm>
            <a:grpFill/>
          </p:grpSpPr>
          <p:sp>
            <p:nvSpPr>
              <p:cNvPr id="66" name="Oval 65">
                <a:extLst>
                  <a:ext uri="{FF2B5EF4-FFF2-40B4-BE49-F238E27FC236}">
                    <a16:creationId xmlns:a16="http://schemas.microsoft.com/office/drawing/2014/main" id="{DBF0A15A-DA96-C21D-5FB4-B856393A4DC1}"/>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7" name="Oval 66">
                <a:extLst>
                  <a:ext uri="{FF2B5EF4-FFF2-40B4-BE49-F238E27FC236}">
                    <a16:creationId xmlns:a16="http://schemas.microsoft.com/office/drawing/2014/main" id="{DDEDED48-EB46-8151-8F08-E471354DB58B}"/>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1" name="Group 50">
              <a:extLst>
                <a:ext uri="{FF2B5EF4-FFF2-40B4-BE49-F238E27FC236}">
                  <a16:creationId xmlns:a16="http://schemas.microsoft.com/office/drawing/2014/main" id="{A3F84D64-B700-CE81-1462-8AF2E3BD227C}"/>
                </a:ext>
              </a:extLst>
            </p:cNvPr>
            <p:cNvGrpSpPr/>
            <p:nvPr/>
          </p:nvGrpSpPr>
          <p:grpSpPr>
            <a:xfrm>
              <a:off x="7032420" y="2343170"/>
              <a:ext cx="99972" cy="222095"/>
              <a:chOff x="6656498" y="1601074"/>
              <a:chExt cx="69994" cy="155497"/>
            </a:xfrm>
            <a:grpFill/>
          </p:grpSpPr>
          <p:sp>
            <p:nvSpPr>
              <p:cNvPr id="64" name="Oval 63">
                <a:extLst>
                  <a:ext uri="{FF2B5EF4-FFF2-40B4-BE49-F238E27FC236}">
                    <a16:creationId xmlns:a16="http://schemas.microsoft.com/office/drawing/2014/main" id="{F07F74AD-2A3F-FBA9-0EDC-6368CDE41A1C}"/>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5" name="Oval 64">
                <a:extLst>
                  <a:ext uri="{FF2B5EF4-FFF2-40B4-BE49-F238E27FC236}">
                    <a16:creationId xmlns:a16="http://schemas.microsoft.com/office/drawing/2014/main" id="{E4EECF5B-637D-C49E-9957-518FEA95CEC6}"/>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2" name="Group 51">
              <a:extLst>
                <a:ext uri="{FF2B5EF4-FFF2-40B4-BE49-F238E27FC236}">
                  <a16:creationId xmlns:a16="http://schemas.microsoft.com/office/drawing/2014/main" id="{24760FAF-68EA-C78B-6089-5303BDC93B49}"/>
                </a:ext>
              </a:extLst>
            </p:cNvPr>
            <p:cNvGrpSpPr/>
            <p:nvPr/>
          </p:nvGrpSpPr>
          <p:grpSpPr>
            <a:xfrm>
              <a:off x="7151572" y="2343170"/>
              <a:ext cx="99972" cy="222095"/>
              <a:chOff x="6656498" y="1601074"/>
              <a:chExt cx="69994" cy="155497"/>
            </a:xfrm>
            <a:grpFill/>
          </p:grpSpPr>
          <p:sp>
            <p:nvSpPr>
              <p:cNvPr id="62" name="Oval 61">
                <a:extLst>
                  <a:ext uri="{FF2B5EF4-FFF2-40B4-BE49-F238E27FC236}">
                    <a16:creationId xmlns:a16="http://schemas.microsoft.com/office/drawing/2014/main" id="{8A8C5F89-D786-BEAC-592F-3B650092781D}"/>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3" name="Oval 62">
                <a:extLst>
                  <a:ext uri="{FF2B5EF4-FFF2-40B4-BE49-F238E27FC236}">
                    <a16:creationId xmlns:a16="http://schemas.microsoft.com/office/drawing/2014/main" id="{A42A2925-C56C-2446-2ED8-1CD3E67EB3EA}"/>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3" name="Group 52">
              <a:extLst>
                <a:ext uri="{FF2B5EF4-FFF2-40B4-BE49-F238E27FC236}">
                  <a16:creationId xmlns:a16="http://schemas.microsoft.com/office/drawing/2014/main" id="{82CA3698-588A-53E6-349F-1891AA07A99C}"/>
                </a:ext>
              </a:extLst>
            </p:cNvPr>
            <p:cNvGrpSpPr/>
            <p:nvPr/>
          </p:nvGrpSpPr>
          <p:grpSpPr>
            <a:xfrm>
              <a:off x="7270965" y="2343170"/>
              <a:ext cx="99972" cy="222095"/>
              <a:chOff x="6656498" y="1601074"/>
              <a:chExt cx="69994" cy="155497"/>
            </a:xfrm>
            <a:grpFill/>
          </p:grpSpPr>
          <p:sp>
            <p:nvSpPr>
              <p:cNvPr id="60" name="Oval 59">
                <a:extLst>
                  <a:ext uri="{FF2B5EF4-FFF2-40B4-BE49-F238E27FC236}">
                    <a16:creationId xmlns:a16="http://schemas.microsoft.com/office/drawing/2014/main" id="{AC28EE0B-5BEB-3030-8C1C-3769C90C8316}"/>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1" name="Oval 60">
                <a:extLst>
                  <a:ext uri="{FF2B5EF4-FFF2-40B4-BE49-F238E27FC236}">
                    <a16:creationId xmlns:a16="http://schemas.microsoft.com/office/drawing/2014/main" id="{97C04E37-AA76-D377-2910-0D9B4250208F}"/>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4" name="Group 53">
              <a:extLst>
                <a:ext uri="{FF2B5EF4-FFF2-40B4-BE49-F238E27FC236}">
                  <a16:creationId xmlns:a16="http://schemas.microsoft.com/office/drawing/2014/main" id="{5E94E723-8C25-ECD5-B5FE-C0ACF020B106}"/>
                </a:ext>
              </a:extLst>
            </p:cNvPr>
            <p:cNvGrpSpPr/>
            <p:nvPr/>
          </p:nvGrpSpPr>
          <p:grpSpPr>
            <a:xfrm>
              <a:off x="7389491" y="2343170"/>
              <a:ext cx="99972" cy="222095"/>
              <a:chOff x="6656498" y="1601074"/>
              <a:chExt cx="69994" cy="155497"/>
            </a:xfrm>
            <a:grpFill/>
          </p:grpSpPr>
          <p:sp>
            <p:nvSpPr>
              <p:cNvPr id="58" name="Oval 57">
                <a:extLst>
                  <a:ext uri="{FF2B5EF4-FFF2-40B4-BE49-F238E27FC236}">
                    <a16:creationId xmlns:a16="http://schemas.microsoft.com/office/drawing/2014/main" id="{E73B8197-E0FC-1F0A-5B3B-91D9F487FBC7}"/>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9" name="Oval 58">
                <a:extLst>
                  <a:ext uri="{FF2B5EF4-FFF2-40B4-BE49-F238E27FC236}">
                    <a16:creationId xmlns:a16="http://schemas.microsoft.com/office/drawing/2014/main" id="{7DC9E5A7-B9B7-B58A-68F9-E5453FA33FED}"/>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5" name="Group 54">
              <a:extLst>
                <a:ext uri="{FF2B5EF4-FFF2-40B4-BE49-F238E27FC236}">
                  <a16:creationId xmlns:a16="http://schemas.microsoft.com/office/drawing/2014/main" id="{547F1835-FCE9-3EA4-F2ED-7D1D60EC3AB1}"/>
                </a:ext>
              </a:extLst>
            </p:cNvPr>
            <p:cNvGrpSpPr/>
            <p:nvPr/>
          </p:nvGrpSpPr>
          <p:grpSpPr>
            <a:xfrm>
              <a:off x="7510647" y="2343170"/>
              <a:ext cx="99972" cy="222095"/>
              <a:chOff x="6656498" y="1601074"/>
              <a:chExt cx="69994" cy="155497"/>
            </a:xfrm>
            <a:grpFill/>
          </p:grpSpPr>
          <p:sp>
            <p:nvSpPr>
              <p:cNvPr id="56" name="Oval 55">
                <a:extLst>
                  <a:ext uri="{FF2B5EF4-FFF2-40B4-BE49-F238E27FC236}">
                    <a16:creationId xmlns:a16="http://schemas.microsoft.com/office/drawing/2014/main" id="{5A2384DA-501F-419E-2C2B-E31AFF3E8036}"/>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7" name="Oval 56">
                <a:extLst>
                  <a:ext uri="{FF2B5EF4-FFF2-40B4-BE49-F238E27FC236}">
                    <a16:creationId xmlns:a16="http://schemas.microsoft.com/office/drawing/2014/main" id="{EBED8057-98FD-1252-3BAA-55F2811FB3E7}"/>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2">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grpSp>
        <p:nvGrpSpPr>
          <p:cNvPr id="76" name="Group 75">
            <a:extLst>
              <a:ext uri="{FF2B5EF4-FFF2-40B4-BE49-F238E27FC236}">
                <a16:creationId xmlns:a16="http://schemas.microsoft.com/office/drawing/2014/main" id="{BA8BC901-EB9C-9A7E-D012-CEEF313BB745}"/>
              </a:ext>
              <a:ext uri="{C183D7F6-B498-43B3-948B-1728B52AA6E4}">
                <adec:decorative xmlns:adec="http://schemas.microsoft.com/office/drawing/2017/decorative" val="1"/>
              </a:ext>
            </a:extLst>
          </p:cNvPr>
          <p:cNvGrpSpPr/>
          <p:nvPr/>
        </p:nvGrpSpPr>
        <p:grpSpPr>
          <a:xfrm>
            <a:off x="6198660" y="2707511"/>
            <a:ext cx="2118886" cy="222095"/>
            <a:chOff x="6554275" y="2725096"/>
            <a:chExt cx="2118886" cy="222095"/>
          </a:xfrm>
          <a:solidFill>
            <a:schemeClr val="accent2"/>
          </a:solidFill>
        </p:grpSpPr>
        <p:grpSp>
          <p:nvGrpSpPr>
            <p:cNvPr id="77" name="Group 76">
              <a:extLst>
                <a:ext uri="{FF2B5EF4-FFF2-40B4-BE49-F238E27FC236}">
                  <a16:creationId xmlns:a16="http://schemas.microsoft.com/office/drawing/2014/main" id="{0F6938E8-CF0E-FB10-DA8F-973E358CAA25}"/>
                </a:ext>
              </a:extLst>
            </p:cNvPr>
            <p:cNvGrpSpPr/>
            <p:nvPr/>
          </p:nvGrpSpPr>
          <p:grpSpPr>
            <a:xfrm>
              <a:off x="6554275" y="2725096"/>
              <a:ext cx="99972" cy="222095"/>
              <a:chOff x="6656498" y="1601074"/>
              <a:chExt cx="69994" cy="155497"/>
            </a:xfrm>
            <a:grpFill/>
          </p:grpSpPr>
          <p:sp>
            <p:nvSpPr>
              <p:cNvPr id="126" name="Oval 125">
                <a:extLst>
                  <a:ext uri="{FF2B5EF4-FFF2-40B4-BE49-F238E27FC236}">
                    <a16:creationId xmlns:a16="http://schemas.microsoft.com/office/drawing/2014/main" id="{8B953846-F9A9-11D0-E3BC-B9B9F2D40C1C}"/>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7" name="Oval 126">
                <a:extLst>
                  <a:ext uri="{FF2B5EF4-FFF2-40B4-BE49-F238E27FC236}">
                    <a16:creationId xmlns:a16="http://schemas.microsoft.com/office/drawing/2014/main" id="{5D5732BE-A7F9-9999-D860-881A9411847F}"/>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78" name="Group 77">
              <a:extLst>
                <a:ext uri="{FF2B5EF4-FFF2-40B4-BE49-F238E27FC236}">
                  <a16:creationId xmlns:a16="http://schemas.microsoft.com/office/drawing/2014/main" id="{6F5BE674-20F5-4ADB-6119-DFDBD850D0A6}"/>
                </a:ext>
              </a:extLst>
            </p:cNvPr>
            <p:cNvGrpSpPr/>
            <p:nvPr/>
          </p:nvGrpSpPr>
          <p:grpSpPr>
            <a:xfrm>
              <a:off x="6673345" y="2725096"/>
              <a:ext cx="99972" cy="222095"/>
              <a:chOff x="6656498" y="1601074"/>
              <a:chExt cx="69994" cy="155497"/>
            </a:xfrm>
            <a:grpFill/>
          </p:grpSpPr>
          <p:sp>
            <p:nvSpPr>
              <p:cNvPr id="124" name="Oval 123">
                <a:extLst>
                  <a:ext uri="{FF2B5EF4-FFF2-40B4-BE49-F238E27FC236}">
                    <a16:creationId xmlns:a16="http://schemas.microsoft.com/office/drawing/2014/main" id="{13965A47-D3C6-B69A-74F0-05CCBC1B5D97}"/>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5" name="Oval 124">
                <a:extLst>
                  <a:ext uri="{FF2B5EF4-FFF2-40B4-BE49-F238E27FC236}">
                    <a16:creationId xmlns:a16="http://schemas.microsoft.com/office/drawing/2014/main" id="{33DC6D0A-3732-DDF5-8886-8BB3C7385B12}"/>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79" name="Group 78">
              <a:extLst>
                <a:ext uri="{FF2B5EF4-FFF2-40B4-BE49-F238E27FC236}">
                  <a16:creationId xmlns:a16="http://schemas.microsoft.com/office/drawing/2014/main" id="{7AA71FBA-42AF-586C-58FB-EA4CA1148540}"/>
                </a:ext>
              </a:extLst>
            </p:cNvPr>
            <p:cNvGrpSpPr/>
            <p:nvPr/>
          </p:nvGrpSpPr>
          <p:grpSpPr>
            <a:xfrm>
              <a:off x="6792738" y="2725096"/>
              <a:ext cx="99972" cy="222095"/>
              <a:chOff x="6656498" y="1601074"/>
              <a:chExt cx="69994" cy="155497"/>
            </a:xfrm>
            <a:grpFill/>
          </p:grpSpPr>
          <p:sp>
            <p:nvSpPr>
              <p:cNvPr id="122" name="Oval 121">
                <a:extLst>
                  <a:ext uri="{FF2B5EF4-FFF2-40B4-BE49-F238E27FC236}">
                    <a16:creationId xmlns:a16="http://schemas.microsoft.com/office/drawing/2014/main" id="{EE76AE3F-5505-E3F3-FFB3-4D681D253C06}"/>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3" name="Oval 122">
                <a:extLst>
                  <a:ext uri="{FF2B5EF4-FFF2-40B4-BE49-F238E27FC236}">
                    <a16:creationId xmlns:a16="http://schemas.microsoft.com/office/drawing/2014/main" id="{55CA6A91-DA40-AF8C-B44B-A10B517F885C}"/>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0" name="Group 79">
              <a:extLst>
                <a:ext uri="{FF2B5EF4-FFF2-40B4-BE49-F238E27FC236}">
                  <a16:creationId xmlns:a16="http://schemas.microsoft.com/office/drawing/2014/main" id="{9C0775DF-B5F9-DA98-C955-B038FED678BC}"/>
                </a:ext>
              </a:extLst>
            </p:cNvPr>
            <p:cNvGrpSpPr/>
            <p:nvPr/>
          </p:nvGrpSpPr>
          <p:grpSpPr>
            <a:xfrm>
              <a:off x="6911264" y="2725096"/>
              <a:ext cx="99972" cy="222095"/>
              <a:chOff x="6656498" y="1601074"/>
              <a:chExt cx="69994" cy="155497"/>
            </a:xfrm>
            <a:grpFill/>
          </p:grpSpPr>
          <p:sp>
            <p:nvSpPr>
              <p:cNvPr id="120" name="Oval 119">
                <a:extLst>
                  <a:ext uri="{FF2B5EF4-FFF2-40B4-BE49-F238E27FC236}">
                    <a16:creationId xmlns:a16="http://schemas.microsoft.com/office/drawing/2014/main" id="{7EBD10FE-6151-0562-C1C0-4FAA59E194A3}"/>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1" name="Oval 120">
                <a:extLst>
                  <a:ext uri="{FF2B5EF4-FFF2-40B4-BE49-F238E27FC236}">
                    <a16:creationId xmlns:a16="http://schemas.microsoft.com/office/drawing/2014/main" id="{D4138DD6-E3C8-B430-08F4-EE0E25E8F1F4}"/>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1" name="Group 80">
              <a:extLst>
                <a:ext uri="{FF2B5EF4-FFF2-40B4-BE49-F238E27FC236}">
                  <a16:creationId xmlns:a16="http://schemas.microsoft.com/office/drawing/2014/main" id="{B3E06540-3059-653C-0507-23C73E4FF01B}"/>
                </a:ext>
              </a:extLst>
            </p:cNvPr>
            <p:cNvGrpSpPr/>
            <p:nvPr/>
          </p:nvGrpSpPr>
          <p:grpSpPr>
            <a:xfrm>
              <a:off x="7032420" y="2725096"/>
              <a:ext cx="99972" cy="222095"/>
              <a:chOff x="6656498" y="1601074"/>
              <a:chExt cx="69994" cy="155497"/>
            </a:xfrm>
            <a:grpFill/>
          </p:grpSpPr>
          <p:sp>
            <p:nvSpPr>
              <p:cNvPr id="118" name="Oval 117">
                <a:extLst>
                  <a:ext uri="{FF2B5EF4-FFF2-40B4-BE49-F238E27FC236}">
                    <a16:creationId xmlns:a16="http://schemas.microsoft.com/office/drawing/2014/main" id="{C12E6FA7-BFF4-507F-04FC-1FE026E067DB}"/>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9" name="Oval 118">
                <a:extLst>
                  <a:ext uri="{FF2B5EF4-FFF2-40B4-BE49-F238E27FC236}">
                    <a16:creationId xmlns:a16="http://schemas.microsoft.com/office/drawing/2014/main" id="{1F25A7CF-503E-E296-CF9D-4E52B1B72CCD}"/>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2" name="Group 81">
              <a:extLst>
                <a:ext uri="{FF2B5EF4-FFF2-40B4-BE49-F238E27FC236}">
                  <a16:creationId xmlns:a16="http://schemas.microsoft.com/office/drawing/2014/main" id="{3E02634D-A5CB-1B05-5BF1-4194D90DA629}"/>
                </a:ext>
              </a:extLst>
            </p:cNvPr>
            <p:cNvGrpSpPr/>
            <p:nvPr/>
          </p:nvGrpSpPr>
          <p:grpSpPr>
            <a:xfrm>
              <a:off x="7151572" y="2725096"/>
              <a:ext cx="99972" cy="222095"/>
              <a:chOff x="6656498" y="1601074"/>
              <a:chExt cx="69994" cy="155497"/>
            </a:xfrm>
            <a:grpFill/>
          </p:grpSpPr>
          <p:sp>
            <p:nvSpPr>
              <p:cNvPr id="116" name="Oval 115">
                <a:extLst>
                  <a:ext uri="{FF2B5EF4-FFF2-40B4-BE49-F238E27FC236}">
                    <a16:creationId xmlns:a16="http://schemas.microsoft.com/office/drawing/2014/main" id="{4F7FC846-4F9D-6E79-6984-1C49C669536C}"/>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7" name="Oval 116">
                <a:extLst>
                  <a:ext uri="{FF2B5EF4-FFF2-40B4-BE49-F238E27FC236}">
                    <a16:creationId xmlns:a16="http://schemas.microsoft.com/office/drawing/2014/main" id="{4FDA579C-F98A-9983-25BB-2A419F0BB39C}"/>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3" name="Group 82">
              <a:extLst>
                <a:ext uri="{FF2B5EF4-FFF2-40B4-BE49-F238E27FC236}">
                  <a16:creationId xmlns:a16="http://schemas.microsoft.com/office/drawing/2014/main" id="{6341315D-2036-D799-8240-F8340FEF90F4}"/>
                </a:ext>
              </a:extLst>
            </p:cNvPr>
            <p:cNvGrpSpPr/>
            <p:nvPr/>
          </p:nvGrpSpPr>
          <p:grpSpPr>
            <a:xfrm>
              <a:off x="7270642" y="2725096"/>
              <a:ext cx="99972" cy="222095"/>
              <a:chOff x="6656498" y="1601074"/>
              <a:chExt cx="69994" cy="155497"/>
            </a:xfrm>
            <a:grpFill/>
          </p:grpSpPr>
          <p:sp>
            <p:nvSpPr>
              <p:cNvPr id="114" name="Oval 113">
                <a:extLst>
                  <a:ext uri="{FF2B5EF4-FFF2-40B4-BE49-F238E27FC236}">
                    <a16:creationId xmlns:a16="http://schemas.microsoft.com/office/drawing/2014/main" id="{CCBFB64F-F20B-6CD4-5C65-B541420A695F}"/>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5" name="Oval 114">
                <a:extLst>
                  <a:ext uri="{FF2B5EF4-FFF2-40B4-BE49-F238E27FC236}">
                    <a16:creationId xmlns:a16="http://schemas.microsoft.com/office/drawing/2014/main" id="{150566FE-1727-A5C4-1816-AB66D7BAFCF7}"/>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4" name="Group 83">
              <a:extLst>
                <a:ext uri="{FF2B5EF4-FFF2-40B4-BE49-F238E27FC236}">
                  <a16:creationId xmlns:a16="http://schemas.microsoft.com/office/drawing/2014/main" id="{3EFA350A-C492-9339-BBC4-0AB5B3CBCA00}"/>
                </a:ext>
              </a:extLst>
            </p:cNvPr>
            <p:cNvGrpSpPr/>
            <p:nvPr/>
          </p:nvGrpSpPr>
          <p:grpSpPr>
            <a:xfrm>
              <a:off x="7390035" y="2725096"/>
              <a:ext cx="99972" cy="222095"/>
              <a:chOff x="6656498" y="1601074"/>
              <a:chExt cx="69994" cy="155497"/>
            </a:xfrm>
            <a:grpFill/>
          </p:grpSpPr>
          <p:sp>
            <p:nvSpPr>
              <p:cNvPr id="112" name="Oval 111">
                <a:extLst>
                  <a:ext uri="{FF2B5EF4-FFF2-40B4-BE49-F238E27FC236}">
                    <a16:creationId xmlns:a16="http://schemas.microsoft.com/office/drawing/2014/main" id="{88F6096F-BE65-6496-1BAA-601CC521ADF1}"/>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Oval 112">
                <a:extLst>
                  <a:ext uri="{FF2B5EF4-FFF2-40B4-BE49-F238E27FC236}">
                    <a16:creationId xmlns:a16="http://schemas.microsoft.com/office/drawing/2014/main" id="{543246B6-71E2-D74F-7FD5-4ED170A545FA}"/>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5" name="Group 84">
              <a:extLst>
                <a:ext uri="{FF2B5EF4-FFF2-40B4-BE49-F238E27FC236}">
                  <a16:creationId xmlns:a16="http://schemas.microsoft.com/office/drawing/2014/main" id="{A708431C-A903-8161-1F1F-FAE21FC41DD9}"/>
                </a:ext>
              </a:extLst>
            </p:cNvPr>
            <p:cNvGrpSpPr/>
            <p:nvPr/>
          </p:nvGrpSpPr>
          <p:grpSpPr>
            <a:xfrm>
              <a:off x="7508561" y="2725096"/>
              <a:ext cx="99972" cy="222095"/>
              <a:chOff x="6656498" y="1601074"/>
              <a:chExt cx="69994" cy="155497"/>
            </a:xfrm>
            <a:grpFill/>
          </p:grpSpPr>
          <p:sp>
            <p:nvSpPr>
              <p:cNvPr id="110" name="Oval 109">
                <a:extLst>
                  <a:ext uri="{FF2B5EF4-FFF2-40B4-BE49-F238E27FC236}">
                    <a16:creationId xmlns:a16="http://schemas.microsoft.com/office/drawing/2014/main" id="{6ACC26A8-F633-3BAD-CF03-22DA4AA9F40E}"/>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1" name="Oval 110">
                <a:extLst>
                  <a:ext uri="{FF2B5EF4-FFF2-40B4-BE49-F238E27FC236}">
                    <a16:creationId xmlns:a16="http://schemas.microsoft.com/office/drawing/2014/main" id="{15121096-B920-33DB-9F18-B54AFA3E324F}"/>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6" name="Group 85">
              <a:extLst>
                <a:ext uri="{FF2B5EF4-FFF2-40B4-BE49-F238E27FC236}">
                  <a16:creationId xmlns:a16="http://schemas.microsoft.com/office/drawing/2014/main" id="{53367D23-D4C2-7671-C817-67D044812067}"/>
                </a:ext>
              </a:extLst>
            </p:cNvPr>
            <p:cNvGrpSpPr/>
            <p:nvPr/>
          </p:nvGrpSpPr>
          <p:grpSpPr>
            <a:xfrm>
              <a:off x="7629717" y="2725096"/>
              <a:ext cx="99972" cy="222095"/>
              <a:chOff x="6656498" y="1601074"/>
              <a:chExt cx="69994" cy="155497"/>
            </a:xfrm>
            <a:grpFill/>
          </p:grpSpPr>
          <p:sp>
            <p:nvSpPr>
              <p:cNvPr id="108" name="Oval 107">
                <a:extLst>
                  <a:ext uri="{FF2B5EF4-FFF2-40B4-BE49-F238E27FC236}">
                    <a16:creationId xmlns:a16="http://schemas.microsoft.com/office/drawing/2014/main" id="{84346764-8522-45B4-8503-E071AF70C390}"/>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9" name="Oval 108">
                <a:extLst>
                  <a:ext uri="{FF2B5EF4-FFF2-40B4-BE49-F238E27FC236}">
                    <a16:creationId xmlns:a16="http://schemas.microsoft.com/office/drawing/2014/main" id="{232B8946-3DBE-5B48-C1DB-08BE9E38E5EF}"/>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7" name="Group 86">
              <a:extLst>
                <a:ext uri="{FF2B5EF4-FFF2-40B4-BE49-F238E27FC236}">
                  <a16:creationId xmlns:a16="http://schemas.microsoft.com/office/drawing/2014/main" id="{AFB0C482-7348-253E-F953-E6B6BC6CA08A}"/>
                </a:ext>
              </a:extLst>
            </p:cNvPr>
            <p:cNvGrpSpPr/>
            <p:nvPr/>
          </p:nvGrpSpPr>
          <p:grpSpPr>
            <a:xfrm>
              <a:off x="7748075" y="2725096"/>
              <a:ext cx="99972" cy="222095"/>
              <a:chOff x="6656498" y="1601074"/>
              <a:chExt cx="69994" cy="155497"/>
            </a:xfrm>
            <a:grpFill/>
          </p:grpSpPr>
          <p:sp>
            <p:nvSpPr>
              <p:cNvPr id="106" name="Oval 105">
                <a:extLst>
                  <a:ext uri="{FF2B5EF4-FFF2-40B4-BE49-F238E27FC236}">
                    <a16:creationId xmlns:a16="http://schemas.microsoft.com/office/drawing/2014/main" id="{2C9091B5-B7FD-E210-1712-ABB52E4EF31B}"/>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7" name="Oval 106">
                <a:extLst>
                  <a:ext uri="{FF2B5EF4-FFF2-40B4-BE49-F238E27FC236}">
                    <a16:creationId xmlns:a16="http://schemas.microsoft.com/office/drawing/2014/main" id="{EBCAF0B2-5DD7-119F-0EE8-E2AB7FD929A2}"/>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8" name="Group 87">
              <a:extLst>
                <a:ext uri="{FF2B5EF4-FFF2-40B4-BE49-F238E27FC236}">
                  <a16:creationId xmlns:a16="http://schemas.microsoft.com/office/drawing/2014/main" id="{BC89B8EA-B5C0-DC57-34A4-8C58F23A5D52}"/>
                </a:ext>
              </a:extLst>
            </p:cNvPr>
            <p:cNvGrpSpPr/>
            <p:nvPr/>
          </p:nvGrpSpPr>
          <p:grpSpPr>
            <a:xfrm>
              <a:off x="7867145" y="2725096"/>
              <a:ext cx="99972" cy="222095"/>
              <a:chOff x="6656498" y="1601074"/>
              <a:chExt cx="69994" cy="155497"/>
            </a:xfrm>
            <a:grpFill/>
          </p:grpSpPr>
          <p:sp>
            <p:nvSpPr>
              <p:cNvPr id="104" name="Oval 103">
                <a:extLst>
                  <a:ext uri="{FF2B5EF4-FFF2-40B4-BE49-F238E27FC236}">
                    <a16:creationId xmlns:a16="http://schemas.microsoft.com/office/drawing/2014/main" id="{D88B773F-6F61-1496-752C-E0F044D8549C}"/>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5" name="Oval 104">
                <a:extLst>
                  <a:ext uri="{FF2B5EF4-FFF2-40B4-BE49-F238E27FC236}">
                    <a16:creationId xmlns:a16="http://schemas.microsoft.com/office/drawing/2014/main" id="{734006B7-407D-C15E-D90A-A9990D315BA1}"/>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9" name="Group 88">
              <a:extLst>
                <a:ext uri="{FF2B5EF4-FFF2-40B4-BE49-F238E27FC236}">
                  <a16:creationId xmlns:a16="http://schemas.microsoft.com/office/drawing/2014/main" id="{F91A5200-32BC-284B-A363-C9BC8C6FAD25}"/>
                </a:ext>
              </a:extLst>
            </p:cNvPr>
            <p:cNvGrpSpPr/>
            <p:nvPr/>
          </p:nvGrpSpPr>
          <p:grpSpPr>
            <a:xfrm>
              <a:off x="7986538" y="2725096"/>
              <a:ext cx="99972" cy="222095"/>
              <a:chOff x="6656498" y="1601074"/>
              <a:chExt cx="69994" cy="155497"/>
            </a:xfrm>
            <a:grpFill/>
          </p:grpSpPr>
          <p:sp>
            <p:nvSpPr>
              <p:cNvPr id="102" name="Oval 101">
                <a:extLst>
                  <a:ext uri="{FF2B5EF4-FFF2-40B4-BE49-F238E27FC236}">
                    <a16:creationId xmlns:a16="http://schemas.microsoft.com/office/drawing/2014/main" id="{CA710D61-B190-D63E-ECFA-056C197946F0}"/>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3" name="Oval 102">
                <a:extLst>
                  <a:ext uri="{FF2B5EF4-FFF2-40B4-BE49-F238E27FC236}">
                    <a16:creationId xmlns:a16="http://schemas.microsoft.com/office/drawing/2014/main" id="{0F5CD654-C01D-7940-A258-4653B8BCFC32}"/>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90" name="Group 89">
              <a:extLst>
                <a:ext uri="{FF2B5EF4-FFF2-40B4-BE49-F238E27FC236}">
                  <a16:creationId xmlns:a16="http://schemas.microsoft.com/office/drawing/2014/main" id="{B0CC9DB9-1E11-6F08-59BF-A82F1721BE59}"/>
                </a:ext>
              </a:extLst>
            </p:cNvPr>
            <p:cNvGrpSpPr/>
            <p:nvPr/>
          </p:nvGrpSpPr>
          <p:grpSpPr>
            <a:xfrm>
              <a:off x="8105064" y="2725096"/>
              <a:ext cx="99972" cy="222095"/>
              <a:chOff x="6656498" y="1601074"/>
              <a:chExt cx="69994" cy="155497"/>
            </a:xfrm>
            <a:grpFill/>
          </p:grpSpPr>
          <p:sp>
            <p:nvSpPr>
              <p:cNvPr id="100" name="Oval 99">
                <a:extLst>
                  <a:ext uri="{FF2B5EF4-FFF2-40B4-BE49-F238E27FC236}">
                    <a16:creationId xmlns:a16="http://schemas.microsoft.com/office/drawing/2014/main" id="{073B57D1-5066-AFF6-816E-168DC2C23006}"/>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1" name="Oval 100">
                <a:extLst>
                  <a:ext uri="{FF2B5EF4-FFF2-40B4-BE49-F238E27FC236}">
                    <a16:creationId xmlns:a16="http://schemas.microsoft.com/office/drawing/2014/main" id="{C5BBF547-0F41-F0C0-763B-32A859FC1305}"/>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91" name="Group 90">
              <a:extLst>
                <a:ext uri="{FF2B5EF4-FFF2-40B4-BE49-F238E27FC236}">
                  <a16:creationId xmlns:a16="http://schemas.microsoft.com/office/drawing/2014/main" id="{B9459E69-C7AD-FB28-8D41-AC870F554B70}"/>
                </a:ext>
              </a:extLst>
            </p:cNvPr>
            <p:cNvGrpSpPr/>
            <p:nvPr/>
          </p:nvGrpSpPr>
          <p:grpSpPr>
            <a:xfrm>
              <a:off x="8226220" y="2725096"/>
              <a:ext cx="99972" cy="222095"/>
              <a:chOff x="6656498" y="1601074"/>
              <a:chExt cx="69994" cy="155497"/>
            </a:xfrm>
            <a:grpFill/>
          </p:grpSpPr>
          <p:sp>
            <p:nvSpPr>
              <p:cNvPr id="98" name="Oval 97">
                <a:extLst>
                  <a:ext uri="{FF2B5EF4-FFF2-40B4-BE49-F238E27FC236}">
                    <a16:creationId xmlns:a16="http://schemas.microsoft.com/office/drawing/2014/main" id="{08037A22-8F13-4FF3-7AB2-DA5E7BFD89C2}"/>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9" name="Oval 98">
                <a:extLst>
                  <a:ext uri="{FF2B5EF4-FFF2-40B4-BE49-F238E27FC236}">
                    <a16:creationId xmlns:a16="http://schemas.microsoft.com/office/drawing/2014/main" id="{A0D74995-0E57-CB6B-7B7A-8A2A82977642}"/>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92" name="Group 91">
              <a:extLst>
                <a:ext uri="{FF2B5EF4-FFF2-40B4-BE49-F238E27FC236}">
                  <a16:creationId xmlns:a16="http://schemas.microsoft.com/office/drawing/2014/main" id="{AF7CA13F-F8DA-DED0-1780-A53A314F3FD7}"/>
                </a:ext>
              </a:extLst>
            </p:cNvPr>
            <p:cNvGrpSpPr/>
            <p:nvPr/>
          </p:nvGrpSpPr>
          <p:grpSpPr>
            <a:xfrm>
              <a:off x="8344776" y="2725096"/>
              <a:ext cx="99972" cy="222095"/>
              <a:chOff x="6656498" y="1601074"/>
              <a:chExt cx="69994" cy="155497"/>
            </a:xfrm>
            <a:grpFill/>
          </p:grpSpPr>
          <p:sp>
            <p:nvSpPr>
              <p:cNvPr id="96" name="Oval 95">
                <a:extLst>
                  <a:ext uri="{FF2B5EF4-FFF2-40B4-BE49-F238E27FC236}">
                    <a16:creationId xmlns:a16="http://schemas.microsoft.com/office/drawing/2014/main" id="{64F65365-CDCB-0A5D-D19F-8CC8CA4F8F40}"/>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7" name="Oval 96">
                <a:extLst>
                  <a:ext uri="{FF2B5EF4-FFF2-40B4-BE49-F238E27FC236}">
                    <a16:creationId xmlns:a16="http://schemas.microsoft.com/office/drawing/2014/main" id="{FA1CFF11-503E-F9A8-3454-65AC508480DA}"/>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93" name="Oval 92">
              <a:extLst>
                <a:ext uri="{FF2B5EF4-FFF2-40B4-BE49-F238E27FC236}">
                  <a16:creationId xmlns:a16="http://schemas.microsoft.com/office/drawing/2014/main" id="{57013492-21E3-AD89-E10B-E28DEBD376D6}"/>
                </a:ext>
              </a:extLst>
            </p:cNvPr>
            <p:cNvSpPr/>
            <p:nvPr/>
          </p:nvSpPr>
          <p:spPr>
            <a:xfrm>
              <a:off x="8465932" y="2725096"/>
              <a:ext cx="99972" cy="99972"/>
            </a:xfrm>
            <a:custGeom>
              <a:avLst/>
              <a:gdLst>
                <a:gd name="csX0" fmla="*/ 0 w 99972"/>
                <a:gd name="csY0" fmla="*/ 49986 h 99972"/>
                <a:gd name="csX1" fmla="*/ 49986 w 99972"/>
                <a:gd name="csY1" fmla="*/ 0 h 99972"/>
                <a:gd name="csX2" fmla="*/ 99972 w 99972"/>
                <a:gd name="csY2" fmla="*/ 49986 h 99972"/>
                <a:gd name="csX3" fmla="*/ 49986 w 99972"/>
                <a:gd name="csY3" fmla="*/ 99972 h 99972"/>
                <a:gd name="csX4" fmla="*/ 0 w 99972"/>
                <a:gd name="csY4" fmla="*/ 49986 h 99972"/>
              </a:gdLst>
              <a:ahLst/>
              <a:cxnLst>
                <a:cxn ang="0">
                  <a:pos x="csX0" y="csY0"/>
                </a:cxn>
                <a:cxn ang="0">
                  <a:pos x="csX1" y="csY1"/>
                </a:cxn>
                <a:cxn ang="0">
                  <a:pos x="csX2" y="csY2"/>
                </a:cxn>
                <a:cxn ang="0">
                  <a:pos x="csX3" y="csY3"/>
                </a:cxn>
                <a:cxn ang="0">
                  <a:pos x="csX4" y="csY4"/>
                </a:cxn>
              </a:cxnLst>
              <a:rect l="l" t="t" r="r" b="b"/>
              <a:pathLst>
                <a:path w="99972" h="99972" fill="none" extrusionOk="0">
                  <a:moveTo>
                    <a:pt x="0" y="49986"/>
                  </a:moveTo>
                  <a:cubicBezTo>
                    <a:pt x="1447" y="22551"/>
                    <a:pt x="24659" y="-4692"/>
                    <a:pt x="49986" y="0"/>
                  </a:cubicBezTo>
                  <a:cubicBezTo>
                    <a:pt x="73068" y="-693"/>
                    <a:pt x="98806" y="23477"/>
                    <a:pt x="99972" y="49986"/>
                  </a:cubicBezTo>
                  <a:cubicBezTo>
                    <a:pt x="99427" y="72397"/>
                    <a:pt x="75591" y="102755"/>
                    <a:pt x="49986" y="99972"/>
                  </a:cubicBezTo>
                  <a:cubicBezTo>
                    <a:pt x="24387" y="101096"/>
                    <a:pt x="3832" y="78514"/>
                    <a:pt x="0" y="49986"/>
                  </a:cubicBezTo>
                  <a:close/>
                </a:path>
                <a:path w="99972" h="99972" stroke="0" extrusionOk="0">
                  <a:moveTo>
                    <a:pt x="0" y="49986"/>
                  </a:moveTo>
                  <a:cubicBezTo>
                    <a:pt x="-2446" y="20870"/>
                    <a:pt x="19466" y="1093"/>
                    <a:pt x="49986" y="0"/>
                  </a:cubicBezTo>
                  <a:cubicBezTo>
                    <a:pt x="83179" y="1176"/>
                    <a:pt x="94758" y="22545"/>
                    <a:pt x="99972" y="49986"/>
                  </a:cubicBezTo>
                  <a:cubicBezTo>
                    <a:pt x="95876" y="81593"/>
                    <a:pt x="76940" y="103581"/>
                    <a:pt x="49986" y="99972"/>
                  </a:cubicBezTo>
                  <a:cubicBezTo>
                    <a:pt x="20400" y="98889"/>
                    <a:pt x="1498" y="78309"/>
                    <a:pt x="0" y="49986"/>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4" name="Oval 93">
              <a:extLst>
                <a:ext uri="{FF2B5EF4-FFF2-40B4-BE49-F238E27FC236}">
                  <a16:creationId xmlns:a16="http://schemas.microsoft.com/office/drawing/2014/main" id="{EEBD031E-54F4-A0FB-A068-09174EE34BCC}"/>
                </a:ext>
              </a:extLst>
            </p:cNvPr>
            <p:cNvSpPr/>
            <p:nvPr/>
          </p:nvSpPr>
          <p:spPr>
            <a:xfrm>
              <a:off x="8465932" y="2847219"/>
              <a:ext cx="99972" cy="99972"/>
            </a:xfrm>
            <a:custGeom>
              <a:avLst/>
              <a:gdLst>
                <a:gd name="csX0" fmla="*/ 0 w 99972"/>
                <a:gd name="csY0" fmla="*/ 49986 h 99972"/>
                <a:gd name="csX1" fmla="*/ 49986 w 99972"/>
                <a:gd name="csY1" fmla="*/ 0 h 99972"/>
                <a:gd name="csX2" fmla="*/ 99972 w 99972"/>
                <a:gd name="csY2" fmla="*/ 49986 h 99972"/>
                <a:gd name="csX3" fmla="*/ 49986 w 99972"/>
                <a:gd name="csY3" fmla="*/ 99972 h 99972"/>
                <a:gd name="csX4" fmla="*/ 0 w 99972"/>
                <a:gd name="csY4" fmla="*/ 49986 h 99972"/>
              </a:gdLst>
              <a:ahLst/>
              <a:cxnLst>
                <a:cxn ang="0">
                  <a:pos x="csX0" y="csY0"/>
                </a:cxn>
                <a:cxn ang="0">
                  <a:pos x="csX1" y="csY1"/>
                </a:cxn>
                <a:cxn ang="0">
                  <a:pos x="csX2" y="csY2"/>
                </a:cxn>
                <a:cxn ang="0">
                  <a:pos x="csX3" y="csY3"/>
                </a:cxn>
                <a:cxn ang="0">
                  <a:pos x="csX4" y="csY4"/>
                </a:cxn>
              </a:cxnLst>
              <a:rect l="l" t="t" r="r" b="b"/>
              <a:pathLst>
                <a:path w="99972" h="99972" fill="none" extrusionOk="0">
                  <a:moveTo>
                    <a:pt x="0" y="49986"/>
                  </a:moveTo>
                  <a:cubicBezTo>
                    <a:pt x="1447" y="22551"/>
                    <a:pt x="24659" y="-4692"/>
                    <a:pt x="49986" y="0"/>
                  </a:cubicBezTo>
                  <a:cubicBezTo>
                    <a:pt x="73068" y="-693"/>
                    <a:pt x="98806" y="23477"/>
                    <a:pt x="99972" y="49986"/>
                  </a:cubicBezTo>
                  <a:cubicBezTo>
                    <a:pt x="99427" y="72397"/>
                    <a:pt x="75591" y="102755"/>
                    <a:pt x="49986" y="99972"/>
                  </a:cubicBezTo>
                  <a:cubicBezTo>
                    <a:pt x="24387" y="101096"/>
                    <a:pt x="3832" y="78514"/>
                    <a:pt x="0" y="49986"/>
                  </a:cubicBezTo>
                  <a:close/>
                </a:path>
                <a:path w="99972" h="99972" stroke="0" extrusionOk="0">
                  <a:moveTo>
                    <a:pt x="0" y="49986"/>
                  </a:moveTo>
                  <a:cubicBezTo>
                    <a:pt x="-2446" y="20870"/>
                    <a:pt x="19466" y="1093"/>
                    <a:pt x="49986" y="0"/>
                  </a:cubicBezTo>
                  <a:cubicBezTo>
                    <a:pt x="83179" y="1176"/>
                    <a:pt x="94758" y="22545"/>
                    <a:pt x="99972" y="49986"/>
                  </a:cubicBezTo>
                  <a:cubicBezTo>
                    <a:pt x="95876" y="81593"/>
                    <a:pt x="76940" y="103581"/>
                    <a:pt x="49986" y="99972"/>
                  </a:cubicBezTo>
                  <a:cubicBezTo>
                    <a:pt x="20400" y="98889"/>
                    <a:pt x="1498" y="78309"/>
                    <a:pt x="0" y="49986"/>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5" name="Oval 94">
              <a:extLst>
                <a:ext uri="{FF2B5EF4-FFF2-40B4-BE49-F238E27FC236}">
                  <a16:creationId xmlns:a16="http://schemas.microsoft.com/office/drawing/2014/main" id="{D5764E42-1C8F-EAF3-DDD9-C907CC1344A4}"/>
                </a:ext>
              </a:extLst>
            </p:cNvPr>
            <p:cNvSpPr/>
            <p:nvPr/>
          </p:nvSpPr>
          <p:spPr>
            <a:xfrm>
              <a:off x="8573189" y="2786695"/>
              <a:ext cx="99972" cy="99972"/>
            </a:xfrm>
            <a:custGeom>
              <a:avLst/>
              <a:gdLst>
                <a:gd name="csX0" fmla="*/ 0 w 99972"/>
                <a:gd name="csY0" fmla="*/ 49986 h 99972"/>
                <a:gd name="csX1" fmla="*/ 49986 w 99972"/>
                <a:gd name="csY1" fmla="*/ 0 h 99972"/>
                <a:gd name="csX2" fmla="*/ 99972 w 99972"/>
                <a:gd name="csY2" fmla="*/ 49986 h 99972"/>
                <a:gd name="csX3" fmla="*/ 49986 w 99972"/>
                <a:gd name="csY3" fmla="*/ 99972 h 99972"/>
                <a:gd name="csX4" fmla="*/ 0 w 99972"/>
                <a:gd name="csY4" fmla="*/ 49986 h 99972"/>
              </a:gdLst>
              <a:ahLst/>
              <a:cxnLst>
                <a:cxn ang="0">
                  <a:pos x="csX0" y="csY0"/>
                </a:cxn>
                <a:cxn ang="0">
                  <a:pos x="csX1" y="csY1"/>
                </a:cxn>
                <a:cxn ang="0">
                  <a:pos x="csX2" y="csY2"/>
                </a:cxn>
                <a:cxn ang="0">
                  <a:pos x="csX3" y="csY3"/>
                </a:cxn>
                <a:cxn ang="0">
                  <a:pos x="csX4" y="csY4"/>
                </a:cxn>
              </a:cxnLst>
              <a:rect l="l" t="t" r="r" b="b"/>
              <a:pathLst>
                <a:path w="99972" h="99972" fill="none" extrusionOk="0">
                  <a:moveTo>
                    <a:pt x="0" y="49986"/>
                  </a:moveTo>
                  <a:cubicBezTo>
                    <a:pt x="1447" y="22551"/>
                    <a:pt x="24659" y="-4692"/>
                    <a:pt x="49986" y="0"/>
                  </a:cubicBezTo>
                  <a:cubicBezTo>
                    <a:pt x="73068" y="-693"/>
                    <a:pt x="98806" y="23477"/>
                    <a:pt x="99972" y="49986"/>
                  </a:cubicBezTo>
                  <a:cubicBezTo>
                    <a:pt x="99427" y="72397"/>
                    <a:pt x="75591" y="102755"/>
                    <a:pt x="49986" y="99972"/>
                  </a:cubicBezTo>
                  <a:cubicBezTo>
                    <a:pt x="24387" y="101096"/>
                    <a:pt x="3832" y="78514"/>
                    <a:pt x="0" y="49986"/>
                  </a:cubicBezTo>
                  <a:close/>
                </a:path>
                <a:path w="99972" h="99972" stroke="0" extrusionOk="0">
                  <a:moveTo>
                    <a:pt x="0" y="49986"/>
                  </a:moveTo>
                  <a:cubicBezTo>
                    <a:pt x="-2446" y="20870"/>
                    <a:pt x="19466" y="1093"/>
                    <a:pt x="49986" y="0"/>
                  </a:cubicBezTo>
                  <a:cubicBezTo>
                    <a:pt x="83179" y="1176"/>
                    <a:pt x="94758" y="22545"/>
                    <a:pt x="99972" y="49986"/>
                  </a:cubicBezTo>
                  <a:cubicBezTo>
                    <a:pt x="95876" y="81593"/>
                    <a:pt x="76940" y="103581"/>
                    <a:pt x="49986" y="99972"/>
                  </a:cubicBezTo>
                  <a:cubicBezTo>
                    <a:pt x="20400" y="98889"/>
                    <a:pt x="1498" y="78309"/>
                    <a:pt x="0" y="49986"/>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0" name="Group 129">
            <a:extLst>
              <a:ext uri="{FF2B5EF4-FFF2-40B4-BE49-F238E27FC236}">
                <a16:creationId xmlns:a16="http://schemas.microsoft.com/office/drawing/2014/main" id="{27AECA36-EB9D-1BA6-26F9-6BB00D074222}"/>
              </a:ext>
              <a:ext uri="{C183D7F6-B498-43B3-948B-1728B52AA6E4}">
                <adec:decorative xmlns:adec="http://schemas.microsoft.com/office/drawing/2017/decorative" val="1"/>
              </a:ext>
            </a:extLst>
          </p:cNvPr>
          <p:cNvGrpSpPr/>
          <p:nvPr/>
        </p:nvGrpSpPr>
        <p:grpSpPr>
          <a:xfrm>
            <a:off x="6198660" y="3015648"/>
            <a:ext cx="3094702" cy="222095"/>
            <a:chOff x="6554275" y="3150923"/>
            <a:chExt cx="3094702" cy="222095"/>
          </a:xfrm>
          <a:solidFill>
            <a:schemeClr val="accent2"/>
          </a:solidFill>
        </p:grpSpPr>
        <p:grpSp>
          <p:nvGrpSpPr>
            <p:cNvPr id="131" name="Group 130">
              <a:extLst>
                <a:ext uri="{FF2B5EF4-FFF2-40B4-BE49-F238E27FC236}">
                  <a16:creationId xmlns:a16="http://schemas.microsoft.com/office/drawing/2014/main" id="{929350ED-055A-2087-69DB-95917FD7284E}"/>
                </a:ext>
              </a:extLst>
            </p:cNvPr>
            <p:cNvGrpSpPr/>
            <p:nvPr/>
          </p:nvGrpSpPr>
          <p:grpSpPr>
            <a:xfrm>
              <a:off x="6554275" y="3150923"/>
              <a:ext cx="99972" cy="222095"/>
              <a:chOff x="6656498" y="1601074"/>
              <a:chExt cx="69994" cy="155497"/>
            </a:xfrm>
            <a:grpFill/>
          </p:grpSpPr>
          <p:sp>
            <p:nvSpPr>
              <p:cNvPr id="207" name="Oval 206">
                <a:extLst>
                  <a:ext uri="{FF2B5EF4-FFF2-40B4-BE49-F238E27FC236}">
                    <a16:creationId xmlns:a16="http://schemas.microsoft.com/office/drawing/2014/main" id="{D1F3E3B5-A274-F2BF-4643-FFAB9E3F461D}"/>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8" name="Oval 207">
                <a:extLst>
                  <a:ext uri="{FF2B5EF4-FFF2-40B4-BE49-F238E27FC236}">
                    <a16:creationId xmlns:a16="http://schemas.microsoft.com/office/drawing/2014/main" id="{8484A9E3-FC63-B8B4-E0A5-93FF5C2535D0}"/>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2" name="Group 131">
              <a:extLst>
                <a:ext uri="{FF2B5EF4-FFF2-40B4-BE49-F238E27FC236}">
                  <a16:creationId xmlns:a16="http://schemas.microsoft.com/office/drawing/2014/main" id="{6274355A-64FE-10EF-6FAC-258C6E22BE68}"/>
                </a:ext>
              </a:extLst>
            </p:cNvPr>
            <p:cNvGrpSpPr/>
            <p:nvPr/>
          </p:nvGrpSpPr>
          <p:grpSpPr>
            <a:xfrm>
              <a:off x="6673345" y="3150923"/>
              <a:ext cx="99972" cy="222095"/>
              <a:chOff x="6656498" y="1601074"/>
              <a:chExt cx="69994" cy="155497"/>
            </a:xfrm>
            <a:grpFill/>
          </p:grpSpPr>
          <p:sp>
            <p:nvSpPr>
              <p:cNvPr id="205" name="Oval 204">
                <a:extLst>
                  <a:ext uri="{FF2B5EF4-FFF2-40B4-BE49-F238E27FC236}">
                    <a16:creationId xmlns:a16="http://schemas.microsoft.com/office/drawing/2014/main" id="{691F7A98-7534-A0B5-8353-BFC43415FB46}"/>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6" name="Oval 205">
                <a:extLst>
                  <a:ext uri="{FF2B5EF4-FFF2-40B4-BE49-F238E27FC236}">
                    <a16:creationId xmlns:a16="http://schemas.microsoft.com/office/drawing/2014/main" id="{D8E248B9-553D-0776-A82B-AD85B5B09507}"/>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3" name="Group 132">
              <a:extLst>
                <a:ext uri="{FF2B5EF4-FFF2-40B4-BE49-F238E27FC236}">
                  <a16:creationId xmlns:a16="http://schemas.microsoft.com/office/drawing/2014/main" id="{BD952283-DBFF-AF21-D526-882ED46920ED}"/>
                </a:ext>
              </a:extLst>
            </p:cNvPr>
            <p:cNvGrpSpPr/>
            <p:nvPr/>
          </p:nvGrpSpPr>
          <p:grpSpPr>
            <a:xfrm>
              <a:off x="6792738" y="3150923"/>
              <a:ext cx="99972" cy="222095"/>
              <a:chOff x="6656498" y="1601074"/>
              <a:chExt cx="69994" cy="155497"/>
            </a:xfrm>
            <a:grpFill/>
          </p:grpSpPr>
          <p:sp>
            <p:nvSpPr>
              <p:cNvPr id="203" name="Oval 202">
                <a:extLst>
                  <a:ext uri="{FF2B5EF4-FFF2-40B4-BE49-F238E27FC236}">
                    <a16:creationId xmlns:a16="http://schemas.microsoft.com/office/drawing/2014/main" id="{37AA9D25-8DA3-2711-5902-FBBC7F9409F8}"/>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4" name="Oval 203">
                <a:extLst>
                  <a:ext uri="{FF2B5EF4-FFF2-40B4-BE49-F238E27FC236}">
                    <a16:creationId xmlns:a16="http://schemas.microsoft.com/office/drawing/2014/main" id="{C9CAE4F9-01DB-157E-12E3-DEB2293808D3}"/>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4" name="Group 133">
              <a:extLst>
                <a:ext uri="{FF2B5EF4-FFF2-40B4-BE49-F238E27FC236}">
                  <a16:creationId xmlns:a16="http://schemas.microsoft.com/office/drawing/2014/main" id="{1201302F-CFF8-3759-6AB4-C788FDBBAF3C}"/>
                </a:ext>
              </a:extLst>
            </p:cNvPr>
            <p:cNvGrpSpPr/>
            <p:nvPr/>
          </p:nvGrpSpPr>
          <p:grpSpPr>
            <a:xfrm>
              <a:off x="6911264" y="3150923"/>
              <a:ext cx="99972" cy="222095"/>
              <a:chOff x="6656498" y="1601074"/>
              <a:chExt cx="69994" cy="155497"/>
            </a:xfrm>
            <a:grpFill/>
          </p:grpSpPr>
          <p:sp>
            <p:nvSpPr>
              <p:cNvPr id="201" name="Oval 200">
                <a:extLst>
                  <a:ext uri="{FF2B5EF4-FFF2-40B4-BE49-F238E27FC236}">
                    <a16:creationId xmlns:a16="http://schemas.microsoft.com/office/drawing/2014/main" id="{70C6AAE1-0D37-4619-ED9A-5BB5450F5EB8}"/>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2" name="Oval 201">
                <a:extLst>
                  <a:ext uri="{FF2B5EF4-FFF2-40B4-BE49-F238E27FC236}">
                    <a16:creationId xmlns:a16="http://schemas.microsoft.com/office/drawing/2014/main" id="{88CDCF42-A880-979A-BF35-A3D302CBF3F8}"/>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5" name="Group 134">
              <a:extLst>
                <a:ext uri="{FF2B5EF4-FFF2-40B4-BE49-F238E27FC236}">
                  <a16:creationId xmlns:a16="http://schemas.microsoft.com/office/drawing/2014/main" id="{6DF52DBD-A33B-B205-6EA4-A1C3D03AD804}"/>
                </a:ext>
              </a:extLst>
            </p:cNvPr>
            <p:cNvGrpSpPr/>
            <p:nvPr/>
          </p:nvGrpSpPr>
          <p:grpSpPr>
            <a:xfrm>
              <a:off x="7032420" y="3150923"/>
              <a:ext cx="99972" cy="222095"/>
              <a:chOff x="6656498" y="1601074"/>
              <a:chExt cx="69994" cy="155497"/>
            </a:xfrm>
            <a:grpFill/>
          </p:grpSpPr>
          <p:sp>
            <p:nvSpPr>
              <p:cNvPr id="199" name="Oval 198">
                <a:extLst>
                  <a:ext uri="{FF2B5EF4-FFF2-40B4-BE49-F238E27FC236}">
                    <a16:creationId xmlns:a16="http://schemas.microsoft.com/office/drawing/2014/main" id="{A41B974E-C74E-303A-726E-31782FF96152}"/>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0" name="Oval 199">
                <a:extLst>
                  <a:ext uri="{FF2B5EF4-FFF2-40B4-BE49-F238E27FC236}">
                    <a16:creationId xmlns:a16="http://schemas.microsoft.com/office/drawing/2014/main" id="{86D89DB1-6379-41F0-CF15-0733A8AE029B}"/>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6" name="Group 135">
              <a:extLst>
                <a:ext uri="{FF2B5EF4-FFF2-40B4-BE49-F238E27FC236}">
                  <a16:creationId xmlns:a16="http://schemas.microsoft.com/office/drawing/2014/main" id="{90A4334A-756D-09B4-5A5F-8CD78090B0FB}"/>
                </a:ext>
              </a:extLst>
            </p:cNvPr>
            <p:cNvGrpSpPr/>
            <p:nvPr/>
          </p:nvGrpSpPr>
          <p:grpSpPr>
            <a:xfrm>
              <a:off x="7151572" y="3150923"/>
              <a:ext cx="99972" cy="222095"/>
              <a:chOff x="6656498" y="1601074"/>
              <a:chExt cx="69994" cy="155497"/>
            </a:xfrm>
            <a:grpFill/>
          </p:grpSpPr>
          <p:sp>
            <p:nvSpPr>
              <p:cNvPr id="197" name="Oval 196">
                <a:extLst>
                  <a:ext uri="{FF2B5EF4-FFF2-40B4-BE49-F238E27FC236}">
                    <a16:creationId xmlns:a16="http://schemas.microsoft.com/office/drawing/2014/main" id="{9068A983-26E7-E4CB-5D11-C338048A685D}"/>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8" name="Oval 197">
                <a:extLst>
                  <a:ext uri="{FF2B5EF4-FFF2-40B4-BE49-F238E27FC236}">
                    <a16:creationId xmlns:a16="http://schemas.microsoft.com/office/drawing/2014/main" id="{3059DBD3-B449-9428-8F6A-CE32B637E575}"/>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7" name="Group 136">
              <a:extLst>
                <a:ext uri="{FF2B5EF4-FFF2-40B4-BE49-F238E27FC236}">
                  <a16:creationId xmlns:a16="http://schemas.microsoft.com/office/drawing/2014/main" id="{0FA8B7DC-8339-266C-C807-6FB201D08385}"/>
                </a:ext>
              </a:extLst>
            </p:cNvPr>
            <p:cNvGrpSpPr/>
            <p:nvPr/>
          </p:nvGrpSpPr>
          <p:grpSpPr>
            <a:xfrm>
              <a:off x="7270642" y="3150923"/>
              <a:ext cx="99972" cy="222095"/>
              <a:chOff x="6656498" y="1601074"/>
              <a:chExt cx="69994" cy="155497"/>
            </a:xfrm>
            <a:grpFill/>
          </p:grpSpPr>
          <p:sp>
            <p:nvSpPr>
              <p:cNvPr id="195" name="Oval 194">
                <a:extLst>
                  <a:ext uri="{FF2B5EF4-FFF2-40B4-BE49-F238E27FC236}">
                    <a16:creationId xmlns:a16="http://schemas.microsoft.com/office/drawing/2014/main" id="{8F41554C-53D8-F05B-44FA-39EC609F0A5A}"/>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6" name="Oval 195">
                <a:extLst>
                  <a:ext uri="{FF2B5EF4-FFF2-40B4-BE49-F238E27FC236}">
                    <a16:creationId xmlns:a16="http://schemas.microsoft.com/office/drawing/2014/main" id="{1F617670-8076-E21A-0DD5-B3FC47B47A9A}"/>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8" name="Group 137">
              <a:extLst>
                <a:ext uri="{FF2B5EF4-FFF2-40B4-BE49-F238E27FC236}">
                  <a16:creationId xmlns:a16="http://schemas.microsoft.com/office/drawing/2014/main" id="{352B685F-BD92-558A-B487-39EFBA740392}"/>
                </a:ext>
              </a:extLst>
            </p:cNvPr>
            <p:cNvGrpSpPr/>
            <p:nvPr/>
          </p:nvGrpSpPr>
          <p:grpSpPr>
            <a:xfrm>
              <a:off x="7390035" y="3150923"/>
              <a:ext cx="99972" cy="222095"/>
              <a:chOff x="6656498" y="1601074"/>
              <a:chExt cx="69994" cy="155497"/>
            </a:xfrm>
            <a:grpFill/>
          </p:grpSpPr>
          <p:sp>
            <p:nvSpPr>
              <p:cNvPr id="193" name="Oval 192">
                <a:extLst>
                  <a:ext uri="{FF2B5EF4-FFF2-40B4-BE49-F238E27FC236}">
                    <a16:creationId xmlns:a16="http://schemas.microsoft.com/office/drawing/2014/main" id="{C6F16733-0065-DED9-DF00-2C379A0F87B0}"/>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Oval 193">
                <a:extLst>
                  <a:ext uri="{FF2B5EF4-FFF2-40B4-BE49-F238E27FC236}">
                    <a16:creationId xmlns:a16="http://schemas.microsoft.com/office/drawing/2014/main" id="{D36D4F96-EEBF-DE9F-37A7-376998B8D7A9}"/>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39" name="Group 138">
              <a:extLst>
                <a:ext uri="{FF2B5EF4-FFF2-40B4-BE49-F238E27FC236}">
                  <a16:creationId xmlns:a16="http://schemas.microsoft.com/office/drawing/2014/main" id="{C7D0A6E7-470F-FDE0-B489-4C2E7007B6E0}"/>
                </a:ext>
              </a:extLst>
            </p:cNvPr>
            <p:cNvGrpSpPr/>
            <p:nvPr/>
          </p:nvGrpSpPr>
          <p:grpSpPr>
            <a:xfrm>
              <a:off x="7508561" y="3150923"/>
              <a:ext cx="99972" cy="222095"/>
              <a:chOff x="6656498" y="1601074"/>
              <a:chExt cx="69994" cy="155497"/>
            </a:xfrm>
            <a:grpFill/>
          </p:grpSpPr>
          <p:sp>
            <p:nvSpPr>
              <p:cNvPr id="191" name="Oval 190">
                <a:extLst>
                  <a:ext uri="{FF2B5EF4-FFF2-40B4-BE49-F238E27FC236}">
                    <a16:creationId xmlns:a16="http://schemas.microsoft.com/office/drawing/2014/main" id="{3B451996-6CE9-6D2C-C7C1-DDB75516DF8D}"/>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2" name="Oval 191">
                <a:extLst>
                  <a:ext uri="{FF2B5EF4-FFF2-40B4-BE49-F238E27FC236}">
                    <a16:creationId xmlns:a16="http://schemas.microsoft.com/office/drawing/2014/main" id="{BF0F5C02-B9DB-B8F2-6D40-EA089112C7D0}"/>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0" name="Group 139">
              <a:extLst>
                <a:ext uri="{FF2B5EF4-FFF2-40B4-BE49-F238E27FC236}">
                  <a16:creationId xmlns:a16="http://schemas.microsoft.com/office/drawing/2014/main" id="{9B8B75A8-0687-65A3-1BC4-16D00833B24D}"/>
                </a:ext>
              </a:extLst>
            </p:cNvPr>
            <p:cNvGrpSpPr/>
            <p:nvPr/>
          </p:nvGrpSpPr>
          <p:grpSpPr>
            <a:xfrm>
              <a:off x="7629717" y="3150923"/>
              <a:ext cx="99972" cy="222095"/>
              <a:chOff x="6656498" y="1601074"/>
              <a:chExt cx="69994" cy="155497"/>
            </a:xfrm>
            <a:grpFill/>
          </p:grpSpPr>
          <p:sp>
            <p:nvSpPr>
              <p:cNvPr id="189" name="Oval 188">
                <a:extLst>
                  <a:ext uri="{FF2B5EF4-FFF2-40B4-BE49-F238E27FC236}">
                    <a16:creationId xmlns:a16="http://schemas.microsoft.com/office/drawing/2014/main" id="{210433AC-5367-4C7E-880F-864DD8B159E9}"/>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0" name="Oval 189">
                <a:extLst>
                  <a:ext uri="{FF2B5EF4-FFF2-40B4-BE49-F238E27FC236}">
                    <a16:creationId xmlns:a16="http://schemas.microsoft.com/office/drawing/2014/main" id="{278DDA2C-83D7-83F2-5072-9D4AE69151B2}"/>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1" name="Group 140">
              <a:extLst>
                <a:ext uri="{FF2B5EF4-FFF2-40B4-BE49-F238E27FC236}">
                  <a16:creationId xmlns:a16="http://schemas.microsoft.com/office/drawing/2014/main" id="{6A9AAD8A-4F1B-222B-08A0-DF72ED77CEB5}"/>
                </a:ext>
              </a:extLst>
            </p:cNvPr>
            <p:cNvGrpSpPr/>
            <p:nvPr/>
          </p:nvGrpSpPr>
          <p:grpSpPr>
            <a:xfrm>
              <a:off x="7751250" y="3150923"/>
              <a:ext cx="99972" cy="222095"/>
              <a:chOff x="6656498" y="1601074"/>
              <a:chExt cx="69994" cy="155497"/>
            </a:xfrm>
            <a:grpFill/>
          </p:grpSpPr>
          <p:sp>
            <p:nvSpPr>
              <p:cNvPr id="187" name="Oval 186">
                <a:extLst>
                  <a:ext uri="{FF2B5EF4-FFF2-40B4-BE49-F238E27FC236}">
                    <a16:creationId xmlns:a16="http://schemas.microsoft.com/office/drawing/2014/main" id="{0388B45A-6ACC-8DF5-E4D6-15F3A5781C78}"/>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8" name="Oval 187">
                <a:extLst>
                  <a:ext uri="{FF2B5EF4-FFF2-40B4-BE49-F238E27FC236}">
                    <a16:creationId xmlns:a16="http://schemas.microsoft.com/office/drawing/2014/main" id="{E3CDF36D-EC0C-3147-11BC-93F90C87D276}"/>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2" name="Group 141">
              <a:extLst>
                <a:ext uri="{FF2B5EF4-FFF2-40B4-BE49-F238E27FC236}">
                  <a16:creationId xmlns:a16="http://schemas.microsoft.com/office/drawing/2014/main" id="{DB9C9899-F50F-C03A-1726-B52A10C18E07}"/>
                </a:ext>
              </a:extLst>
            </p:cNvPr>
            <p:cNvGrpSpPr/>
            <p:nvPr/>
          </p:nvGrpSpPr>
          <p:grpSpPr>
            <a:xfrm>
              <a:off x="7870320" y="3150923"/>
              <a:ext cx="99972" cy="222095"/>
              <a:chOff x="6656498" y="1601074"/>
              <a:chExt cx="69994" cy="155497"/>
            </a:xfrm>
            <a:grpFill/>
          </p:grpSpPr>
          <p:sp>
            <p:nvSpPr>
              <p:cNvPr id="185" name="Oval 184">
                <a:extLst>
                  <a:ext uri="{FF2B5EF4-FFF2-40B4-BE49-F238E27FC236}">
                    <a16:creationId xmlns:a16="http://schemas.microsoft.com/office/drawing/2014/main" id="{214144D1-D03A-F9E0-94BB-0224C9A07B1F}"/>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6" name="Oval 185">
                <a:extLst>
                  <a:ext uri="{FF2B5EF4-FFF2-40B4-BE49-F238E27FC236}">
                    <a16:creationId xmlns:a16="http://schemas.microsoft.com/office/drawing/2014/main" id="{319CC3F9-C73A-7814-4CF3-1A9E01E55279}"/>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3" name="Group 142">
              <a:extLst>
                <a:ext uri="{FF2B5EF4-FFF2-40B4-BE49-F238E27FC236}">
                  <a16:creationId xmlns:a16="http://schemas.microsoft.com/office/drawing/2014/main" id="{57050F1F-CCB1-FD55-F021-04F3A2FDE527}"/>
                </a:ext>
              </a:extLst>
            </p:cNvPr>
            <p:cNvGrpSpPr/>
            <p:nvPr/>
          </p:nvGrpSpPr>
          <p:grpSpPr>
            <a:xfrm>
              <a:off x="7989713" y="3150923"/>
              <a:ext cx="99972" cy="222095"/>
              <a:chOff x="6656498" y="1601074"/>
              <a:chExt cx="69994" cy="155497"/>
            </a:xfrm>
            <a:grpFill/>
          </p:grpSpPr>
          <p:sp>
            <p:nvSpPr>
              <p:cNvPr id="183" name="Oval 182">
                <a:extLst>
                  <a:ext uri="{FF2B5EF4-FFF2-40B4-BE49-F238E27FC236}">
                    <a16:creationId xmlns:a16="http://schemas.microsoft.com/office/drawing/2014/main" id="{81D266DB-5044-096A-1EF2-867C58ACF0CB}"/>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4" name="Oval 183">
                <a:extLst>
                  <a:ext uri="{FF2B5EF4-FFF2-40B4-BE49-F238E27FC236}">
                    <a16:creationId xmlns:a16="http://schemas.microsoft.com/office/drawing/2014/main" id="{B11856F0-3106-1FE9-6F14-03FDD9E937F1}"/>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4" name="Group 143">
              <a:extLst>
                <a:ext uri="{FF2B5EF4-FFF2-40B4-BE49-F238E27FC236}">
                  <a16:creationId xmlns:a16="http://schemas.microsoft.com/office/drawing/2014/main" id="{E4F302B2-B080-B98A-CB2D-465DC0ABADB4}"/>
                </a:ext>
              </a:extLst>
            </p:cNvPr>
            <p:cNvGrpSpPr/>
            <p:nvPr/>
          </p:nvGrpSpPr>
          <p:grpSpPr>
            <a:xfrm>
              <a:off x="8108239" y="3150923"/>
              <a:ext cx="99972" cy="222095"/>
              <a:chOff x="6656498" y="1601074"/>
              <a:chExt cx="69994" cy="155497"/>
            </a:xfrm>
            <a:grpFill/>
          </p:grpSpPr>
          <p:sp>
            <p:nvSpPr>
              <p:cNvPr id="181" name="Oval 180">
                <a:extLst>
                  <a:ext uri="{FF2B5EF4-FFF2-40B4-BE49-F238E27FC236}">
                    <a16:creationId xmlns:a16="http://schemas.microsoft.com/office/drawing/2014/main" id="{6C3D1851-8EFE-25CD-6045-CECCB0594A38}"/>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2" name="Oval 181">
                <a:extLst>
                  <a:ext uri="{FF2B5EF4-FFF2-40B4-BE49-F238E27FC236}">
                    <a16:creationId xmlns:a16="http://schemas.microsoft.com/office/drawing/2014/main" id="{DD91E121-7946-7EDC-A1D1-8D883EF4DE45}"/>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5" name="Group 144">
              <a:extLst>
                <a:ext uri="{FF2B5EF4-FFF2-40B4-BE49-F238E27FC236}">
                  <a16:creationId xmlns:a16="http://schemas.microsoft.com/office/drawing/2014/main" id="{156E8E79-6BA5-EBDE-2DEC-6B6FD17CFFBE}"/>
                </a:ext>
              </a:extLst>
            </p:cNvPr>
            <p:cNvGrpSpPr/>
            <p:nvPr/>
          </p:nvGrpSpPr>
          <p:grpSpPr>
            <a:xfrm>
              <a:off x="8229395" y="3150923"/>
              <a:ext cx="99972" cy="222095"/>
              <a:chOff x="6656498" y="1601074"/>
              <a:chExt cx="69994" cy="155497"/>
            </a:xfrm>
            <a:grpFill/>
          </p:grpSpPr>
          <p:sp>
            <p:nvSpPr>
              <p:cNvPr id="179" name="Oval 178">
                <a:extLst>
                  <a:ext uri="{FF2B5EF4-FFF2-40B4-BE49-F238E27FC236}">
                    <a16:creationId xmlns:a16="http://schemas.microsoft.com/office/drawing/2014/main" id="{9AB35321-907D-F196-C55D-6A2D95B1B19F}"/>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0" name="Oval 179">
                <a:extLst>
                  <a:ext uri="{FF2B5EF4-FFF2-40B4-BE49-F238E27FC236}">
                    <a16:creationId xmlns:a16="http://schemas.microsoft.com/office/drawing/2014/main" id="{59C5004C-4C97-ADF7-C940-7F46329B312C}"/>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6" name="Group 145">
              <a:extLst>
                <a:ext uri="{FF2B5EF4-FFF2-40B4-BE49-F238E27FC236}">
                  <a16:creationId xmlns:a16="http://schemas.microsoft.com/office/drawing/2014/main" id="{EFAF4234-D84E-377D-80C7-CB758F56A355}"/>
                </a:ext>
              </a:extLst>
            </p:cNvPr>
            <p:cNvGrpSpPr/>
            <p:nvPr/>
          </p:nvGrpSpPr>
          <p:grpSpPr>
            <a:xfrm>
              <a:off x="8348547" y="3150923"/>
              <a:ext cx="99972" cy="222095"/>
              <a:chOff x="6656498" y="1601074"/>
              <a:chExt cx="69994" cy="155497"/>
            </a:xfrm>
            <a:grpFill/>
          </p:grpSpPr>
          <p:sp>
            <p:nvSpPr>
              <p:cNvPr id="177" name="Oval 176">
                <a:extLst>
                  <a:ext uri="{FF2B5EF4-FFF2-40B4-BE49-F238E27FC236}">
                    <a16:creationId xmlns:a16="http://schemas.microsoft.com/office/drawing/2014/main" id="{61B8484B-F6D1-EB2A-4947-724B2BB9D7A5}"/>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8" name="Oval 177">
                <a:extLst>
                  <a:ext uri="{FF2B5EF4-FFF2-40B4-BE49-F238E27FC236}">
                    <a16:creationId xmlns:a16="http://schemas.microsoft.com/office/drawing/2014/main" id="{6FEA784B-FA17-1B19-1AB0-951387F0070C}"/>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7" name="Group 146">
              <a:extLst>
                <a:ext uri="{FF2B5EF4-FFF2-40B4-BE49-F238E27FC236}">
                  <a16:creationId xmlns:a16="http://schemas.microsoft.com/office/drawing/2014/main" id="{DA01244A-71A6-08CC-2B12-C0ACB5F3A2D0}"/>
                </a:ext>
              </a:extLst>
            </p:cNvPr>
            <p:cNvGrpSpPr/>
            <p:nvPr/>
          </p:nvGrpSpPr>
          <p:grpSpPr>
            <a:xfrm>
              <a:off x="8467617" y="3150923"/>
              <a:ext cx="99972" cy="222095"/>
              <a:chOff x="6656498" y="1601074"/>
              <a:chExt cx="69994" cy="155497"/>
            </a:xfrm>
            <a:grpFill/>
          </p:grpSpPr>
          <p:sp>
            <p:nvSpPr>
              <p:cNvPr id="175" name="Oval 174">
                <a:extLst>
                  <a:ext uri="{FF2B5EF4-FFF2-40B4-BE49-F238E27FC236}">
                    <a16:creationId xmlns:a16="http://schemas.microsoft.com/office/drawing/2014/main" id="{C5650C01-F9F4-27CA-D440-6726E589CB3E}"/>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6" name="Oval 175">
                <a:extLst>
                  <a:ext uri="{FF2B5EF4-FFF2-40B4-BE49-F238E27FC236}">
                    <a16:creationId xmlns:a16="http://schemas.microsoft.com/office/drawing/2014/main" id="{35C1DFFB-A314-0941-911E-396FB50178B1}"/>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8" name="Group 147">
              <a:extLst>
                <a:ext uri="{FF2B5EF4-FFF2-40B4-BE49-F238E27FC236}">
                  <a16:creationId xmlns:a16="http://schemas.microsoft.com/office/drawing/2014/main" id="{811D7035-580E-1145-9D19-3191696EB27A}"/>
                </a:ext>
              </a:extLst>
            </p:cNvPr>
            <p:cNvGrpSpPr/>
            <p:nvPr/>
          </p:nvGrpSpPr>
          <p:grpSpPr>
            <a:xfrm>
              <a:off x="8587010" y="3150923"/>
              <a:ext cx="99972" cy="222095"/>
              <a:chOff x="6656498" y="1601074"/>
              <a:chExt cx="69994" cy="155497"/>
            </a:xfrm>
            <a:grpFill/>
          </p:grpSpPr>
          <p:sp>
            <p:nvSpPr>
              <p:cNvPr id="173" name="Oval 172">
                <a:extLst>
                  <a:ext uri="{FF2B5EF4-FFF2-40B4-BE49-F238E27FC236}">
                    <a16:creationId xmlns:a16="http://schemas.microsoft.com/office/drawing/2014/main" id="{9246C5DE-8237-CC01-BDA8-35DBC38466D2}"/>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4" name="Oval 173">
                <a:extLst>
                  <a:ext uri="{FF2B5EF4-FFF2-40B4-BE49-F238E27FC236}">
                    <a16:creationId xmlns:a16="http://schemas.microsoft.com/office/drawing/2014/main" id="{C557B662-A497-EC46-E52B-5F74DB9A5119}"/>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49" name="Group 148">
              <a:extLst>
                <a:ext uri="{FF2B5EF4-FFF2-40B4-BE49-F238E27FC236}">
                  <a16:creationId xmlns:a16="http://schemas.microsoft.com/office/drawing/2014/main" id="{97ACBC94-1FEB-A36E-A648-59DA9C95EA5D}"/>
                </a:ext>
              </a:extLst>
            </p:cNvPr>
            <p:cNvGrpSpPr/>
            <p:nvPr/>
          </p:nvGrpSpPr>
          <p:grpSpPr>
            <a:xfrm>
              <a:off x="8705536" y="3150923"/>
              <a:ext cx="99972" cy="222095"/>
              <a:chOff x="6656498" y="1601074"/>
              <a:chExt cx="69994" cy="155497"/>
            </a:xfrm>
            <a:grpFill/>
          </p:grpSpPr>
          <p:sp>
            <p:nvSpPr>
              <p:cNvPr id="171" name="Oval 170">
                <a:extLst>
                  <a:ext uri="{FF2B5EF4-FFF2-40B4-BE49-F238E27FC236}">
                    <a16:creationId xmlns:a16="http://schemas.microsoft.com/office/drawing/2014/main" id="{36F1A776-9518-4632-E8BE-B5E3309D23A4}"/>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2" name="Oval 171">
                <a:extLst>
                  <a:ext uri="{FF2B5EF4-FFF2-40B4-BE49-F238E27FC236}">
                    <a16:creationId xmlns:a16="http://schemas.microsoft.com/office/drawing/2014/main" id="{18CEEE77-7F3A-D0A7-5C6B-BBFB32D5424A}"/>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50" name="Group 149">
              <a:extLst>
                <a:ext uri="{FF2B5EF4-FFF2-40B4-BE49-F238E27FC236}">
                  <a16:creationId xmlns:a16="http://schemas.microsoft.com/office/drawing/2014/main" id="{94D96E20-BCAD-F9E2-32B2-47E4FEEC22EF}"/>
                </a:ext>
              </a:extLst>
            </p:cNvPr>
            <p:cNvGrpSpPr/>
            <p:nvPr/>
          </p:nvGrpSpPr>
          <p:grpSpPr>
            <a:xfrm>
              <a:off x="8826692" y="3150923"/>
              <a:ext cx="99972" cy="222095"/>
              <a:chOff x="6656498" y="1601074"/>
              <a:chExt cx="69994" cy="155497"/>
            </a:xfrm>
            <a:grpFill/>
          </p:grpSpPr>
          <p:sp>
            <p:nvSpPr>
              <p:cNvPr id="169" name="Oval 168">
                <a:extLst>
                  <a:ext uri="{FF2B5EF4-FFF2-40B4-BE49-F238E27FC236}">
                    <a16:creationId xmlns:a16="http://schemas.microsoft.com/office/drawing/2014/main" id="{073CE401-5691-D5F4-78ED-1AD424BB3F81}"/>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0" name="Oval 169">
                <a:extLst>
                  <a:ext uri="{FF2B5EF4-FFF2-40B4-BE49-F238E27FC236}">
                    <a16:creationId xmlns:a16="http://schemas.microsoft.com/office/drawing/2014/main" id="{51DCB60F-4574-04A3-FA4F-29F23ACB36E0}"/>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51" name="Group 150">
              <a:extLst>
                <a:ext uri="{FF2B5EF4-FFF2-40B4-BE49-F238E27FC236}">
                  <a16:creationId xmlns:a16="http://schemas.microsoft.com/office/drawing/2014/main" id="{C781E836-151B-5BF7-189C-B436FE3FF080}"/>
                </a:ext>
              </a:extLst>
            </p:cNvPr>
            <p:cNvGrpSpPr/>
            <p:nvPr/>
          </p:nvGrpSpPr>
          <p:grpSpPr>
            <a:xfrm>
              <a:off x="8948622" y="3150923"/>
              <a:ext cx="99972" cy="222095"/>
              <a:chOff x="6656498" y="1601074"/>
              <a:chExt cx="69994" cy="155497"/>
            </a:xfrm>
            <a:grpFill/>
          </p:grpSpPr>
          <p:sp>
            <p:nvSpPr>
              <p:cNvPr id="167" name="Oval 166">
                <a:extLst>
                  <a:ext uri="{FF2B5EF4-FFF2-40B4-BE49-F238E27FC236}">
                    <a16:creationId xmlns:a16="http://schemas.microsoft.com/office/drawing/2014/main" id="{49778A71-0170-69CD-8B98-D5C40A240923}"/>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8" name="Oval 167">
                <a:extLst>
                  <a:ext uri="{FF2B5EF4-FFF2-40B4-BE49-F238E27FC236}">
                    <a16:creationId xmlns:a16="http://schemas.microsoft.com/office/drawing/2014/main" id="{A1320B56-E48B-7B9D-514B-F092A74F3080}"/>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52" name="Group 151">
              <a:extLst>
                <a:ext uri="{FF2B5EF4-FFF2-40B4-BE49-F238E27FC236}">
                  <a16:creationId xmlns:a16="http://schemas.microsoft.com/office/drawing/2014/main" id="{B7BB56EA-94FF-5832-771F-196044FCA91D}"/>
                </a:ext>
              </a:extLst>
            </p:cNvPr>
            <p:cNvGrpSpPr/>
            <p:nvPr/>
          </p:nvGrpSpPr>
          <p:grpSpPr>
            <a:xfrm>
              <a:off x="9067692" y="3150923"/>
              <a:ext cx="99972" cy="222095"/>
              <a:chOff x="6656498" y="1601074"/>
              <a:chExt cx="69994" cy="155497"/>
            </a:xfrm>
            <a:grpFill/>
          </p:grpSpPr>
          <p:sp>
            <p:nvSpPr>
              <p:cNvPr id="165" name="Oval 164">
                <a:extLst>
                  <a:ext uri="{FF2B5EF4-FFF2-40B4-BE49-F238E27FC236}">
                    <a16:creationId xmlns:a16="http://schemas.microsoft.com/office/drawing/2014/main" id="{4D87922E-CBDC-E2A9-113C-B7E637568D20}"/>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6" name="Oval 165">
                <a:extLst>
                  <a:ext uri="{FF2B5EF4-FFF2-40B4-BE49-F238E27FC236}">
                    <a16:creationId xmlns:a16="http://schemas.microsoft.com/office/drawing/2014/main" id="{8AE8BD8F-8253-FCAD-A7F2-A660A9783A78}"/>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53" name="Group 152">
              <a:extLst>
                <a:ext uri="{FF2B5EF4-FFF2-40B4-BE49-F238E27FC236}">
                  <a16:creationId xmlns:a16="http://schemas.microsoft.com/office/drawing/2014/main" id="{0E006EF4-66B9-41D3-61B2-658CD8B3BD32}"/>
                </a:ext>
              </a:extLst>
            </p:cNvPr>
            <p:cNvGrpSpPr/>
            <p:nvPr/>
          </p:nvGrpSpPr>
          <p:grpSpPr>
            <a:xfrm>
              <a:off x="9187085" y="3150923"/>
              <a:ext cx="99972" cy="222095"/>
              <a:chOff x="6656498" y="1601074"/>
              <a:chExt cx="69994" cy="155497"/>
            </a:xfrm>
            <a:grpFill/>
          </p:grpSpPr>
          <p:sp>
            <p:nvSpPr>
              <p:cNvPr id="163" name="Oval 162">
                <a:extLst>
                  <a:ext uri="{FF2B5EF4-FFF2-40B4-BE49-F238E27FC236}">
                    <a16:creationId xmlns:a16="http://schemas.microsoft.com/office/drawing/2014/main" id="{51E4619F-A991-9BD0-7996-503526F7C8AF}"/>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4" name="Oval 163">
                <a:extLst>
                  <a:ext uri="{FF2B5EF4-FFF2-40B4-BE49-F238E27FC236}">
                    <a16:creationId xmlns:a16="http://schemas.microsoft.com/office/drawing/2014/main" id="{2981CB69-E3D3-F5CE-AC26-1F19E19B8CEA}"/>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54" name="Group 153">
              <a:extLst>
                <a:ext uri="{FF2B5EF4-FFF2-40B4-BE49-F238E27FC236}">
                  <a16:creationId xmlns:a16="http://schemas.microsoft.com/office/drawing/2014/main" id="{CB8397D4-7C05-5134-D4D8-2CE14E18BA2D}"/>
                </a:ext>
              </a:extLst>
            </p:cNvPr>
            <p:cNvGrpSpPr/>
            <p:nvPr/>
          </p:nvGrpSpPr>
          <p:grpSpPr>
            <a:xfrm>
              <a:off x="9305611" y="3150923"/>
              <a:ext cx="99972" cy="222095"/>
              <a:chOff x="6656498" y="1601074"/>
              <a:chExt cx="69994" cy="155497"/>
            </a:xfrm>
            <a:grpFill/>
          </p:grpSpPr>
          <p:sp>
            <p:nvSpPr>
              <p:cNvPr id="161" name="Oval 160">
                <a:extLst>
                  <a:ext uri="{FF2B5EF4-FFF2-40B4-BE49-F238E27FC236}">
                    <a16:creationId xmlns:a16="http://schemas.microsoft.com/office/drawing/2014/main" id="{23B15D64-853E-D90B-A6C9-24F49EF66245}"/>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2" name="Oval 161">
                <a:extLst>
                  <a:ext uri="{FF2B5EF4-FFF2-40B4-BE49-F238E27FC236}">
                    <a16:creationId xmlns:a16="http://schemas.microsoft.com/office/drawing/2014/main" id="{4228C2FC-BD2B-7552-507C-7ED159307287}"/>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55" name="Group 154">
              <a:extLst>
                <a:ext uri="{FF2B5EF4-FFF2-40B4-BE49-F238E27FC236}">
                  <a16:creationId xmlns:a16="http://schemas.microsoft.com/office/drawing/2014/main" id="{AFD9B4E9-769F-1327-378A-2D77BFBDF412}"/>
                </a:ext>
              </a:extLst>
            </p:cNvPr>
            <p:cNvGrpSpPr/>
            <p:nvPr/>
          </p:nvGrpSpPr>
          <p:grpSpPr>
            <a:xfrm>
              <a:off x="9426767" y="3150923"/>
              <a:ext cx="99972" cy="222095"/>
              <a:chOff x="6656498" y="1601074"/>
              <a:chExt cx="69994" cy="155497"/>
            </a:xfrm>
            <a:grpFill/>
          </p:grpSpPr>
          <p:sp>
            <p:nvSpPr>
              <p:cNvPr id="159" name="Oval 158">
                <a:extLst>
                  <a:ext uri="{FF2B5EF4-FFF2-40B4-BE49-F238E27FC236}">
                    <a16:creationId xmlns:a16="http://schemas.microsoft.com/office/drawing/2014/main" id="{37AE7687-75D6-03B2-B93C-BB8EB6F22A32}"/>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0" name="Oval 159">
                <a:extLst>
                  <a:ext uri="{FF2B5EF4-FFF2-40B4-BE49-F238E27FC236}">
                    <a16:creationId xmlns:a16="http://schemas.microsoft.com/office/drawing/2014/main" id="{CC375229-7E8D-3AE0-C609-F67531B9DB45}"/>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56" name="Group 155">
              <a:extLst>
                <a:ext uri="{FF2B5EF4-FFF2-40B4-BE49-F238E27FC236}">
                  <a16:creationId xmlns:a16="http://schemas.microsoft.com/office/drawing/2014/main" id="{257D7B68-1506-AE89-DF2A-0499453A9109}"/>
                </a:ext>
              </a:extLst>
            </p:cNvPr>
            <p:cNvGrpSpPr/>
            <p:nvPr/>
          </p:nvGrpSpPr>
          <p:grpSpPr>
            <a:xfrm>
              <a:off x="9549005" y="3150923"/>
              <a:ext cx="99972" cy="222095"/>
              <a:chOff x="6656498" y="1601074"/>
              <a:chExt cx="69994" cy="155497"/>
            </a:xfrm>
            <a:grpFill/>
          </p:grpSpPr>
          <p:sp>
            <p:nvSpPr>
              <p:cNvPr id="157" name="Oval 156">
                <a:extLst>
                  <a:ext uri="{FF2B5EF4-FFF2-40B4-BE49-F238E27FC236}">
                    <a16:creationId xmlns:a16="http://schemas.microsoft.com/office/drawing/2014/main" id="{B224A606-CA07-B9B9-49C3-38F399D38663}"/>
                  </a:ext>
                </a:extLst>
              </p:cNvPr>
              <p:cNvSpPr/>
              <p:nvPr/>
            </p:nvSpPr>
            <p:spPr>
              <a:xfrm>
                <a:off x="6656498" y="1601074"/>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8" name="Oval 157">
                <a:extLst>
                  <a:ext uri="{FF2B5EF4-FFF2-40B4-BE49-F238E27FC236}">
                    <a16:creationId xmlns:a16="http://schemas.microsoft.com/office/drawing/2014/main" id="{BD65D2EA-A9E3-7C0B-1614-F1BDA23B8431}"/>
                  </a:ext>
                </a:extLst>
              </p:cNvPr>
              <p:cNvSpPr/>
              <p:nvPr/>
            </p:nvSpPr>
            <p:spPr>
              <a:xfrm>
                <a:off x="6656498" y="1686577"/>
                <a:ext cx="69994" cy="69994"/>
              </a:xfrm>
              <a:custGeom>
                <a:avLst/>
                <a:gdLst>
                  <a:gd name="csX0" fmla="*/ 0 w 69994"/>
                  <a:gd name="csY0" fmla="*/ 34997 h 69994"/>
                  <a:gd name="csX1" fmla="*/ 34997 w 69994"/>
                  <a:gd name="csY1" fmla="*/ 0 h 69994"/>
                  <a:gd name="csX2" fmla="*/ 69994 w 69994"/>
                  <a:gd name="csY2" fmla="*/ 34997 h 69994"/>
                  <a:gd name="csX3" fmla="*/ 34997 w 69994"/>
                  <a:gd name="csY3" fmla="*/ 69994 h 69994"/>
                  <a:gd name="csX4" fmla="*/ 0 w 69994"/>
                  <a:gd name="csY4" fmla="*/ 34997 h 69994"/>
                </a:gdLst>
                <a:ahLst/>
                <a:cxnLst>
                  <a:cxn ang="0">
                    <a:pos x="csX0" y="csY0"/>
                  </a:cxn>
                  <a:cxn ang="0">
                    <a:pos x="csX1" y="csY1"/>
                  </a:cxn>
                  <a:cxn ang="0">
                    <a:pos x="csX2" y="csY2"/>
                  </a:cxn>
                  <a:cxn ang="0">
                    <a:pos x="csX3" y="csY3"/>
                  </a:cxn>
                  <a:cxn ang="0">
                    <a:pos x="csX4" y="csY4"/>
                  </a:cxn>
                </a:cxnLst>
                <a:rect l="l" t="t" r="r" b="b"/>
                <a:pathLst>
                  <a:path w="69994" h="69994" fill="none" extrusionOk="0">
                    <a:moveTo>
                      <a:pt x="0" y="34997"/>
                    </a:moveTo>
                    <a:cubicBezTo>
                      <a:pt x="4103" y="16156"/>
                      <a:pt x="17216" y="-3183"/>
                      <a:pt x="34997" y="0"/>
                    </a:cubicBezTo>
                    <a:cubicBezTo>
                      <a:pt x="52217" y="-323"/>
                      <a:pt x="69061" y="16548"/>
                      <a:pt x="69994" y="34997"/>
                    </a:cubicBezTo>
                    <a:cubicBezTo>
                      <a:pt x="69577" y="50349"/>
                      <a:pt x="52119" y="73060"/>
                      <a:pt x="34997" y="69994"/>
                    </a:cubicBezTo>
                    <a:cubicBezTo>
                      <a:pt x="18316" y="71476"/>
                      <a:pt x="2664" y="54966"/>
                      <a:pt x="0" y="34997"/>
                    </a:cubicBezTo>
                    <a:close/>
                  </a:path>
                  <a:path w="69994" h="69994" stroke="0" extrusionOk="0">
                    <a:moveTo>
                      <a:pt x="0" y="34997"/>
                    </a:moveTo>
                    <a:cubicBezTo>
                      <a:pt x="-3749" y="13356"/>
                      <a:pt x="14500" y="439"/>
                      <a:pt x="34997" y="0"/>
                    </a:cubicBezTo>
                    <a:cubicBezTo>
                      <a:pt x="55214" y="187"/>
                      <a:pt x="65864" y="15800"/>
                      <a:pt x="69994" y="34997"/>
                    </a:cubicBezTo>
                    <a:cubicBezTo>
                      <a:pt x="68504" y="55780"/>
                      <a:pt x="53835" y="72702"/>
                      <a:pt x="34997" y="69994"/>
                    </a:cubicBezTo>
                    <a:cubicBezTo>
                      <a:pt x="12408" y="68210"/>
                      <a:pt x="1389" y="54989"/>
                      <a:pt x="0" y="34997"/>
                    </a:cubicBezTo>
                    <a:close/>
                  </a:path>
                </a:pathLst>
              </a:custGeom>
              <a:grpFill/>
              <a:ln w="12700">
                <a:solidFill>
                  <a:schemeClr val="accent3">
                    <a:alpha val="0"/>
                  </a:schemeClr>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Tree>
    <p:extLst>
      <p:ext uri="{BB962C8B-B14F-4D97-AF65-F5344CB8AC3E}">
        <p14:creationId xmlns:p14="http://schemas.microsoft.com/office/powerpoint/2010/main" val="2309740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C69E1BD-4947-B389-82E3-5512B0A3F53D}"/>
              </a:ext>
              <a:ext uri="{C183D7F6-B498-43B3-948B-1728B52AA6E4}">
                <adec:decorative xmlns:adec="http://schemas.microsoft.com/office/drawing/2017/decorative" val="1"/>
              </a:ext>
            </a:extLst>
          </p:cNvPr>
          <p:cNvSpPr/>
          <p:nvPr/>
        </p:nvSpPr>
        <p:spPr>
          <a:xfrm>
            <a:off x="0" y="2382"/>
            <a:ext cx="10691813" cy="7559675"/>
          </a:xfrm>
          <a:prstGeom prst="rect">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dirty="0">
              <a:solidFill>
                <a:schemeClr val="bg2"/>
              </a:solidFill>
            </a:endParaRPr>
          </a:p>
        </p:txBody>
      </p:sp>
      <p:grpSp>
        <p:nvGrpSpPr>
          <p:cNvPr id="3" name="Graphic 37">
            <a:extLst>
              <a:ext uri="{FF2B5EF4-FFF2-40B4-BE49-F238E27FC236}">
                <a16:creationId xmlns:a16="http://schemas.microsoft.com/office/drawing/2014/main" id="{32D1D1C1-69E6-EAA8-F0FE-0E3D54356C32}"/>
              </a:ext>
              <a:ext uri="{C183D7F6-B498-43B3-948B-1728B52AA6E4}">
                <adec:decorative xmlns:adec="http://schemas.microsoft.com/office/drawing/2017/decorative" val="1"/>
              </a:ext>
            </a:extLst>
          </p:cNvPr>
          <p:cNvGrpSpPr>
            <a:grpSpLocks noGrp="1" noUngrp="1" noRot="1" noMove="1" noResize="1"/>
          </p:cNvGrpSpPr>
          <p:nvPr/>
        </p:nvGrpSpPr>
        <p:grpSpPr>
          <a:xfrm>
            <a:off x="-1371594" y="17361"/>
            <a:ext cx="12055186" cy="7517752"/>
            <a:chOff x="1043761" y="771146"/>
            <a:chExt cx="9649310" cy="6017420"/>
          </a:xfrm>
          <a:solidFill>
            <a:schemeClr val="bg1">
              <a:alpha val="3000"/>
            </a:schemeClr>
          </a:solidFill>
        </p:grpSpPr>
        <p:sp>
          <p:nvSpPr>
            <p:cNvPr id="4" name="Freeform: Shape 3">
              <a:extLst>
                <a:ext uri="{FF2B5EF4-FFF2-40B4-BE49-F238E27FC236}">
                  <a16:creationId xmlns:a16="http://schemas.microsoft.com/office/drawing/2014/main" id="{23FC40DB-0F68-48B7-A794-A6A15234F8C9}"/>
                </a:ext>
              </a:extLst>
            </p:cNvPr>
            <p:cNvSpPr>
              <a:spLocks noGrp="1" noRot="1" noMove="1" noResize="1" noEditPoints="1" noAdjustHandles="1" noChangeArrowheads="1" noChangeShapeType="1"/>
            </p:cNvSpPr>
            <p:nvPr/>
          </p:nvSpPr>
          <p:spPr>
            <a:xfrm>
              <a:off x="1043761" y="4470617"/>
              <a:ext cx="4060" cy="4060"/>
            </a:xfrm>
            <a:custGeom>
              <a:avLst/>
              <a:gdLst>
                <a:gd name="connsiteX0" fmla="*/ 0 w 4060"/>
                <a:gd name="connsiteY0" fmla="*/ 0 h 4060"/>
                <a:gd name="connsiteX1" fmla="*/ 0 w 4060"/>
                <a:gd name="connsiteY1" fmla="*/ 0 h 4060"/>
                <a:gd name="connsiteX2" fmla="*/ 0 w 4060"/>
                <a:gd name="connsiteY2" fmla="*/ 0 h 4060"/>
                <a:gd name="connsiteX3" fmla="*/ 0 w 4060"/>
                <a:gd name="connsiteY3" fmla="*/ 0 h 4060"/>
                <a:gd name="connsiteX4" fmla="*/ 0 w 4060"/>
                <a:gd name="connsiteY4" fmla="*/ 0 h 4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 h="4060">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w="4059"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636871E-2B21-CDD5-FCE6-38598F266735}"/>
                </a:ext>
              </a:extLst>
            </p:cNvPr>
            <p:cNvSpPr>
              <a:spLocks noGrp="1" noRot="1" noMove="1" noResize="1" noEditPoints="1" noAdjustHandles="1" noChangeArrowheads="1" noChangeShapeType="1"/>
            </p:cNvSpPr>
            <p:nvPr/>
          </p:nvSpPr>
          <p:spPr>
            <a:xfrm>
              <a:off x="3631155" y="771147"/>
              <a:ext cx="6871851" cy="6017420"/>
            </a:xfrm>
            <a:custGeom>
              <a:avLst/>
              <a:gdLst>
                <a:gd name="connsiteX0" fmla="*/ 6865256 w 6871851"/>
                <a:gd name="connsiteY0" fmla="*/ 2531238 h 6017420"/>
                <a:gd name="connsiteX1" fmla="*/ 6051940 w 6871851"/>
                <a:gd name="connsiteY1" fmla="*/ 3550254 h 6017420"/>
                <a:gd name="connsiteX2" fmla="*/ 5670966 w 6871851"/>
                <a:gd name="connsiteY2" fmla="*/ 3866025 h 6017420"/>
                <a:gd name="connsiteX3" fmla="*/ 5406371 w 6871851"/>
                <a:gd name="connsiteY3" fmla="*/ 4432032 h 6017420"/>
                <a:gd name="connsiteX4" fmla="*/ 5053943 w 6871851"/>
                <a:gd name="connsiteY4" fmla="*/ 5034420 h 6017420"/>
                <a:gd name="connsiteX5" fmla="*/ 4912834 w 6871851"/>
                <a:gd name="connsiteY5" fmla="*/ 5021305 h 6017420"/>
                <a:gd name="connsiteX6" fmla="*/ 4824676 w 6871851"/>
                <a:gd name="connsiteY6" fmla="*/ 4927999 h 6017420"/>
                <a:gd name="connsiteX7" fmla="*/ 4679953 w 6871851"/>
                <a:gd name="connsiteY7" fmla="*/ 4650071 h 6017420"/>
                <a:gd name="connsiteX8" fmla="*/ 4214475 w 6871851"/>
                <a:gd name="connsiteY8" fmla="*/ 4064614 h 6017420"/>
                <a:gd name="connsiteX9" fmla="*/ 3753708 w 6871851"/>
                <a:gd name="connsiteY9" fmla="*/ 4617385 h 6017420"/>
                <a:gd name="connsiteX10" fmla="*/ 3345242 w 6871851"/>
                <a:gd name="connsiteY10" fmla="*/ 5132639 h 6017420"/>
                <a:gd name="connsiteX11" fmla="*/ 2796967 w 6871851"/>
                <a:gd name="connsiteY11" fmla="*/ 4891213 h 6017420"/>
                <a:gd name="connsiteX12" fmla="*/ 2254580 w 6871851"/>
                <a:gd name="connsiteY12" fmla="*/ 4613691 h 6017420"/>
                <a:gd name="connsiteX13" fmla="*/ 2059179 w 6871851"/>
                <a:gd name="connsiteY13" fmla="*/ 4793806 h 6017420"/>
                <a:gd name="connsiteX14" fmla="*/ 1935734 w 6871851"/>
                <a:gd name="connsiteY14" fmla="*/ 5265939 h 6017420"/>
                <a:gd name="connsiteX15" fmla="*/ 1728679 w 6871851"/>
                <a:gd name="connsiteY15" fmla="*/ 5722480 h 6017420"/>
                <a:gd name="connsiteX16" fmla="*/ 1704883 w 6871851"/>
                <a:gd name="connsiteY16" fmla="*/ 5724673 h 6017420"/>
                <a:gd name="connsiteX17" fmla="*/ 1548181 w 6871851"/>
                <a:gd name="connsiteY17" fmla="*/ 5609238 h 6017420"/>
                <a:gd name="connsiteX18" fmla="*/ 1438989 w 6871851"/>
                <a:gd name="connsiteY18" fmla="*/ 5386733 h 6017420"/>
                <a:gd name="connsiteX19" fmla="*/ 1224463 w 6871851"/>
                <a:gd name="connsiteY19" fmla="*/ 4985737 h 6017420"/>
                <a:gd name="connsiteX20" fmla="*/ 930305 w 6871851"/>
                <a:gd name="connsiteY20" fmla="*/ 4808829 h 6017420"/>
                <a:gd name="connsiteX21" fmla="*/ 368468 w 6871851"/>
                <a:gd name="connsiteY21" fmla="*/ 5579029 h 6017420"/>
                <a:gd name="connsiteX22" fmla="*/ 180579 w 6871851"/>
                <a:gd name="connsiteY22" fmla="*/ 6017421 h 6017420"/>
                <a:gd name="connsiteX23" fmla="*/ 0 w 6871851"/>
                <a:gd name="connsiteY23" fmla="*/ 6017421 h 6017420"/>
                <a:gd name="connsiteX24" fmla="*/ 90554 w 6871851"/>
                <a:gd name="connsiteY24" fmla="*/ 5818222 h 6017420"/>
                <a:gd name="connsiteX25" fmla="*/ 221917 w 6871851"/>
                <a:gd name="connsiteY25" fmla="*/ 5519018 h 6017420"/>
                <a:gd name="connsiteX26" fmla="*/ 488867 w 6871851"/>
                <a:gd name="connsiteY26" fmla="*/ 4961416 h 6017420"/>
                <a:gd name="connsiteX27" fmla="*/ 926773 w 6871851"/>
                <a:gd name="connsiteY27" fmla="*/ 4650477 h 6017420"/>
                <a:gd name="connsiteX28" fmla="*/ 1350913 w 6871851"/>
                <a:gd name="connsiteY28" fmla="*/ 4890400 h 6017420"/>
                <a:gd name="connsiteX29" fmla="*/ 1583631 w 6871851"/>
                <a:gd name="connsiteY29" fmla="*/ 5322255 h 6017420"/>
                <a:gd name="connsiteX30" fmla="*/ 1666388 w 6871851"/>
                <a:gd name="connsiteY30" fmla="*/ 5497457 h 6017420"/>
                <a:gd name="connsiteX31" fmla="*/ 1700498 w 6871851"/>
                <a:gd name="connsiteY31" fmla="*/ 5551663 h 6017420"/>
                <a:gd name="connsiteX32" fmla="*/ 1729613 w 6871851"/>
                <a:gd name="connsiteY32" fmla="*/ 5468548 h 6017420"/>
                <a:gd name="connsiteX33" fmla="*/ 1780331 w 6871851"/>
                <a:gd name="connsiteY33" fmla="*/ 5235486 h 6017420"/>
                <a:gd name="connsiteX34" fmla="*/ 1913644 w 6871851"/>
                <a:gd name="connsiteY34" fmla="*/ 4731358 h 6017420"/>
                <a:gd name="connsiteX35" fmla="*/ 2266722 w 6871851"/>
                <a:gd name="connsiteY35" fmla="*/ 4455826 h 6017420"/>
                <a:gd name="connsiteX36" fmla="*/ 2891582 w 6871851"/>
                <a:gd name="connsiteY36" fmla="*/ 4764206 h 6017420"/>
                <a:gd name="connsiteX37" fmla="*/ 3319701 w 6871851"/>
                <a:gd name="connsiteY37" fmla="*/ 4976317 h 6017420"/>
                <a:gd name="connsiteX38" fmla="*/ 3449480 w 6871851"/>
                <a:gd name="connsiteY38" fmla="*/ 4854264 h 6017420"/>
                <a:gd name="connsiteX39" fmla="*/ 3610974 w 6871851"/>
                <a:gd name="connsiteY39" fmla="*/ 4548807 h 6017420"/>
                <a:gd name="connsiteX40" fmla="*/ 4226332 w 6871851"/>
                <a:gd name="connsiteY40" fmla="*/ 3906709 h 6017420"/>
                <a:gd name="connsiteX41" fmla="*/ 4823377 w 6871851"/>
                <a:gd name="connsiteY41" fmla="*/ 4582954 h 6017420"/>
                <a:gd name="connsiteX42" fmla="*/ 4933300 w 6871851"/>
                <a:gd name="connsiteY42" fmla="*/ 4803226 h 6017420"/>
                <a:gd name="connsiteX43" fmla="*/ 4995875 w 6871851"/>
                <a:gd name="connsiteY43" fmla="*/ 4886421 h 6017420"/>
                <a:gd name="connsiteX44" fmla="*/ 5111036 w 6871851"/>
                <a:gd name="connsiteY44" fmla="*/ 4726973 h 6017420"/>
                <a:gd name="connsiteX45" fmla="*/ 5258642 w 6871851"/>
                <a:gd name="connsiteY45" fmla="*/ 4374903 h 6017420"/>
                <a:gd name="connsiteX46" fmla="*/ 5541917 w 6871851"/>
                <a:gd name="connsiteY46" fmla="*/ 3774262 h 6017420"/>
                <a:gd name="connsiteX47" fmla="*/ 5961792 w 6871851"/>
                <a:gd name="connsiteY47" fmla="*/ 3420081 h 6017420"/>
                <a:gd name="connsiteX48" fmla="*/ 6708270 w 6871851"/>
                <a:gd name="connsiteY48" fmla="*/ 2510449 h 6017420"/>
                <a:gd name="connsiteX49" fmla="*/ 6559568 w 6871851"/>
                <a:gd name="connsiteY49" fmla="*/ 2060973 h 6017420"/>
                <a:gd name="connsiteX50" fmla="*/ 6118210 w 6871851"/>
                <a:gd name="connsiteY50" fmla="*/ 1711746 h 6017420"/>
                <a:gd name="connsiteX51" fmla="*/ 5575336 w 6871851"/>
                <a:gd name="connsiteY51" fmla="*/ 1183621 h 6017420"/>
                <a:gd name="connsiteX52" fmla="*/ 5480397 w 6871851"/>
                <a:gd name="connsiteY52" fmla="*/ 605595 h 6017420"/>
                <a:gd name="connsiteX53" fmla="*/ 5435283 w 6871851"/>
                <a:gd name="connsiteY53" fmla="*/ 286861 h 6017420"/>
                <a:gd name="connsiteX54" fmla="*/ 5206990 w 6871851"/>
                <a:gd name="connsiteY54" fmla="*/ 0 h 6017420"/>
                <a:gd name="connsiteX55" fmla="*/ 5427324 w 6871851"/>
                <a:gd name="connsiteY55" fmla="*/ 0 h 6017420"/>
                <a:gd name="connsiteX56" fmla="*/ 5582686 w 6871851"/>
                <a:gd name="connsiteY56" fmla="*/ 228961 h 6017420"/>
                <a:gd name="connsiteX57" fmla="*/ 5638765 w 6871851"/>
                <a:gd name="connsiteY57" fmla="*/ 608113 h 6017420"/>
                <a:gd name="connsiteX58" fmla="*/ 5724201 w 6871851"/>
                <a:gd name="connsiteY58" fmla="*/ 1129538 h 6017420"/>
                <a:gd name="connsiteX59" fmla="*/ 6206288 w 6871851"/>
                <a:gd name="connsiteY59" fmla="*/ 1580110 h 6017420"/>
                <a:gd name="connsiteX60" fmla="*/ 6678546 w 6871851"/>
                <a:gd name="connsiteY60" fmla="*/ 1956420 h 6017420"/>
                <a:gd name="connsiteX61" fmla="*/ 6865256 w 6871851"/>
                <a:gd name="connsiteY61" fmla="*/ 2531238 h 601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871851" h="6017420">
                  <a:moveTo>
                    <a:pt x="6865256" y="2531238"/>
                  </a:moveTo>
                  <a:cubicBezTo>
                    <a:pt x="6798905" y="3033052"/>
                    <a:pt x="6384755" y="3319832"/>
                    <a:pt x="6051940" y="3550254"/>
                  </a:cubicBezTo>
                  <a:cubicBezTo>
                    <a:pt x="5893492" y="3659964"/>
                    <a:pt x="5743855" y="3763624"/>
                    <a:pt x="5670966" y="3866025"/>
                  </a:cubicBezTo>
                  <a:cubicBezTo>
                    <a:pt x="5570950" y="4006674"/>
                    <a:pt x="5487260" y="4222926"/>
                    <a:pt x="5406371" y="4432032"/>
                  </a:cubicBezTo>
                  <a:cubicBezTo>
                    <a:pt x="5290032" y="4732698"/>
                    <a:pt x="5198138" y="4970145"/>
                    <a:pt x="5053943" y="5034420"/>
                  </a:cubicBezTo>
                  <a:cubicBezTo>
                    <a:pt x="5007976" y="5054883"/>
                    <a:pt x="4957866" y="5050255"/>
                    <a:pt x="4912834" y="5021305"/>
                  </a:cubicBezTo>
                  <a:cubicBezTo>
                    <a:pt x="4883028" y="5002140"/>
                    <a:pt x="4854157" y="4971647"/>
                    <a:pt x="4824676" y="4927999"/>
                  </a:cubicBezTo>
                  <a:cubicBezTo>
                    <a:pt x="4777247" y="4857918"/>
                    <a:pt x="4729981" y="4756979"/>
                    <a:pt x="4679953" y="4650071"/>
                  </a:cubicBezTo>
                  <a:cubicBezTo>
                    <a:pt x="4560934" y="4395855"/>
                    <a:pt x="4412840" y="4079516"/>
                    <a:pt x="4214475" y="4064614"/>
                  </a:cubicBezTo>
                  <a:cubicBezTo>
                    <a:pt x="4026384" y="4050525"/>
                    <a:pt x="3881457" y="4351679"/>
                    <a:pt x="3753708" y="4617385"/>
                  </a:cubicBezTo>
                  <a:cubicBezTo>
                    <a:pt x="3628110" y="4878585"/>
                    <a:pt x="3519690" y="5104135"/>
                    <a:pt x="3345242" y="5132639"/>
                  </a:cubicBezTo>
                  <a:cubicBezTo>
                    <a:pt x="3161333" y="5162604"/>
                    <a:pt x="2984368" y="5030806"/>
                    <a:pt x="2796967" y="4891213"/>
                  </a:cubicBezTo>
                  <a:cubicBezTo>
                    <a:pt x="2623454" y="4761932"/>
                    <a:pt x="2444011" y="4628267"/>
                    <a:pt x="2254580" y="4613691"/>
                  </a:cubicBezTo>
                  <a:cubicBezTo>
                    <a:pt x="2205486" y="4609914"/>
                    <a:pt x="2131825" y="4624491"/>
                    <a:pt x="2059179" y="4793806"/>
                  </a:cubicBezTo>
                  <a:cubicBezTo>
                    <a:pt x="2002167" y="4926659"/>
                    <a:pt x="1966879" y="5106896"/>
                    <a:pt x="1935734" y="5265939"/>
                  </a:cubicBezTo>
                  <a:cubicBezTo>
                    <a:pt x="1884529" y="5527422"/>
                    <a:pt x="1850703" y="5700189"/>
                    <a:pt x="1728679" y="5722480"/>
                  </a:cubicBezTo>
                  <a:cubicBezTo>
                    <a:pt x="1720517" y="5723942"/>
                    <a:pt x="1712558" y="5724673"/>
                    <a:pt x="1704883" y="5724673"/>
                  </a:cubicBezTo>
                  <a:cubicBezTo>
                    <a:pt x="1619731" y="5724673"/>
                    <a:pt x="1566657" y="5639040"/>
                    <a:pt x="1548181" y="5609238"/>
                  </a:cubicBezTo>
                  <a:cubicBezTo>
                    <a:pt x="1512528" y="5551703"/>
                    <a:pt x="1478419" y="5475248"/>
                    <a:pt x="1438989" y="5386733"/>
                  </a:cubicBezTo>
                  <a:cubicBezTo>
                    <a:pt x="1379459" y="5253149"/>
                    <a:pt x="1311971" y="5101740"/>
                    <a:pt x="1224463" y="4985737"/>
                  </a:cubicBezTo>
                  <a:cubicBezTo>
                    <a:pt x="1132853" y="4864333"/>
                    <a:pt x="1036493" y="4806596"/>
                    <a:pt x="930305" y="4808829"/>
                  </a:cubicBezTo>
                  <a:cubicBezTo>
                    <a:pt x="681548" y="4814310"/>
                    <a:pt x="507953" y="5238329"/>
                    <a:pt x="368468" y="5579029"/>
                  </a:cubicBezTo>
                  <a:cubicBezTo>
                    <a:pt x="326033" y="5682689"/>
                    <a:pt x="251844" y="5860571"/>
                    <a:pt x="180579" y="6017421"/>
                  </a:cubicBezTo>
                  <a:lnTo>
                    <a:pt x="0" y="6017421"/>
                  </a:lnTo>
                  <a:cubicBezTo>
                    <a:pt x="24242" y="5946487"/>
                    <a:pt x="68017" y="5861627"/>
                    <a:pt x="90554" y="5818222"/>
                  </a:cubicBezTo>
                  <a:cubicBezTo>
                    <a:pt x="132257" y="5738031"/>
                    <a:pt x="175788" y="5631651"/>
                    <a:pt x="221917" y="5519018"/>
                  </a:cubicBezTo>
                  <a:cubicBezTo>
                    <a:pt x="297365" y="5334680"/>
                    <a:pt x="382924" y="5125736"/>
                    <a:pt x="488867" y="4961416"/>
                  </a:cubicBezTo>
                  <a:cubicBezTo>
                    <a:pt x="621449" y="4755801"/>
                    <a:pt x="764711" y="4654090"/>
                    <a:pt x="926773" y="4650477"/>
                  </a:cubicBezTo>
                  <a:cubicBezTo>
                    <a:pt x="1085506" y="4647066"/>
                    <a:pt x="1228158" y="4727704"/>
                    <a:pt x="1350913" y="4890400"/>
                  </a:cubicBezTo>
                  <a:cubicBezTo>
                    <a:pt x="1449303" y="5020818"/>
                    <a:pt x="1520649" y="5180956"/>
                    <a:pt x="1583631" y="5322255"/>
                  </a:cubicBezTo>
                  <a:cubicBezTo>
                    <a:pt x="1613071" y="5388316"/>
                    <a:pt x="1640887" y="5450723"/>
                    <a:pt x="1666388" y="5497457"/>
                  </a:cubicBezTo>
                  <a:cubicBezTo>
                    <a:pt x="1681006" y="5524256"/>
                    <a:pt x="1692295" y="5541106"/>
                    <a:pt x="1700498" y="5551663"/>
                  </a:cubicBezTo>
                  <a:cubicBezTo>
                    <a:pt x="1707807" y="5536639"/>
                    <a:pt x="1717878" y="5511141"/>
                    <a:pt x="1729613" y="5468548"/>
                  </a:cubicBezTo>
                  <a:cubicBezTo>
                    <a:pt x="1747155" y="5404720"/>
                    <a:pt x="1763276" y="5322539"/>
                    <a:pt x="1780331" y="5235486"/>
                  </a:cubicBezTo>
                  <a:cubicBezTo>
                    <a:pt x="1812979" y="5068729"/>
                    <a:pt x="1849972" y="4879681"/>
                    <a:pt x="1913644" y="4731358"/>
                  </a:cubicBezTo>
                  <a:cubicBezTo>
                    <a:pt x="1997091" y="4536910"/>
                    <a:pt x="2115867" y="4444213"/>
                    <a:pt x="2266722" y="4455826"/>
                  </a:cubicBezTo>
                  <a:cubicBezTo>
                    <a:pt x="2501876" y="4473894"/>
                    <a:pt x="2708931" y="4628145"/>
                    <a:pt x="2891582" y="4764206"/>
                  </a:cubicBezTo>
                  <a:cubicBezTo>
                    <a:pt x="3051289" y="4883173"/>
                    <a:pt x="3202144" y="4995562"/>
                    <a:pt x="3319701" y="4976317"/>
                  </a:cubicBezTo>
                  <a:cubicBezTo>
                    <a:pt x="3344877" y="4972216"/>
                    <a:pt x="3387839" y="4947732"/>
                    <a:pt x="3449480" y="4854264"/>
                  </a:cubicBezTo>
                  <a:cubicBezTo>
                    <a:pt x="3503284" y="4772733"/>
                    <a:pt x="3555586" y="4663957"/>
                    <a:pt x="3610974" y="4548807"/>
                  </a:cubicBezTo>
                  <a:cubicBezTo>
                    <a:pt x="3760651" y="4237421"/>
                    <a:pt x="3930348" y="3884580"/>
                    <a:pt x="4226332" y="3906709"/>
                  </a:cubicBezTo>
                  <a:cubicBezTo>
                    <a:pt x="4517037" y="3928513"/>
                    <a:pt x="4686896" y="4291383"/>
                    <a:pt x="4823377" y="4582954"/>
                  </a:cubicBezTo>
                  <a:cubicBezTo>
                    <a:pt x="4862318" y="4666149"/>
                    <a:pt x="4899108" y="4744717"/>
                    <a:pt x="4933300" y="4803226"/>
                  </a:cubicBezTo>
                  <a:cubicBezTo>
                    <a:pt x="4966719" y="4860436"/>
                    <a:pt x="4987104" y="4879965"/>
                    <a:pt x="4995875" y="4886421"/>
                  </a:cubicBezTo>
                  <a:cubicBezTo>
                    <a:pt x="5016909" y="4873875"/>
                    <a:pt x="5055648" y="4836642"/>
                    <a:pt x="5111036" y="4726973"/>
                  </a:cubicBezTo>
                  <a:cubicBezTo>
                    <a:pt x="5159886" y="4630134"/>
                    <a:pt x="5207884" y="4506174"/>
                    <a:pt x="5258642" y="4374903"/>
                  </a:cubicBezTo>
                  <a:cubicBezTo>
                    <a:pt x="5343105" y="4156702"/>
                    <a:pt x="5430369" y="3931030"/>
                    <a:pt x="5541917" y="3774262"/>
                  </a:cubicBezTo>
                  <a:cubicBezTo>
                    <a:pt x="5630886" y="3649204"/>
                    <a:pt x="5784218" y="3543027"/>
                    <a:pt x="5961792" y="3420081"/>
                  </a:cubicBezTo>
                  <a:cubicBezTo>
                    <a:pt x="6284902" y="3196358"/>
                    <a:pt x="6651095" y="2942751"/>
                    <a:pt x="6708270" y="2510449"/>
                  </a:cubicBezTo>
                  <a:cubicBezTo>
                    <a:pt x="6730238" y="2344261"/>
                    <a:pt x="6682972" y="2201419"/>
                    <a:pt x="6559568" y="2060973"/>
                  </a:cubicBezTo>
                  <a:cubicBezTo>
                    <a:pt x="6444569" y="1930109"/>
                    <a:pt x="6278648" y="1819100"/>
                    <a:pt x="6118210" y="1711746"/>
                  </a:cubicBezTo>
                  <a:cubicBezTo>
                    <a:pt x="5879807" y="1552216"/>
                    <a:pt x="5654601" y="1401538"/>
                    <a:pt x="5575336" y="1183621"/>
                  </a:cubicBezTo>
                  <a:cubicBezTo>
                    <a:pt x="5475565" y="909266"/>
                    <a:pt x="5478245" y="740885"/>
                    <a:pt x="5480397" y="605595"/>
                  </a:cubicBezTo>
                  <a:cubicBezTo>
                    <a:pt x="5482143" y="496089"/>
                    <a:pt x="5483524" y="409604"/>
                    <a:pt x="5435283" y="286861"/>
                  </a:cubicBezTo>
                  <a:cubicBezTo>
                    <a:pt x="5403812" y="206832"/>
                    <a:pt x="5316345" y="104837"/>
                    <a:pt x="5206990" y="0"/>
                  </a:cubicBezTo>
                  <a:lnTo>
                    <a:pt x="5427324" y="0"/>
                  </a:lnTo>
                  <a:cubicBezTo>
                    <a:pt x="5504923" y="86728"/>
                    <a:pt x="5556860" y="163265"/>
                    <a:pt x="5582686" y="228961"/>
                  </a:cubicBezTo>
                  <a:cubicBezTo>
                    <a:pt x="5642378" y="380817"/>
                    <a:pt x="5640632" y="491216"/>
                    <a:pt x="5638765" y="608113"/>
                  </a:cubicBezTo>
                  <a:cubicBezTo>
                    <a:pt x="5636612" y="743077"/>
                    <a:pt x="5634379" y="882590"/>
                    <a:pt x="5724201" y="1129538"/>
                  </a:cubicBezTo>
                  <a:cubicBezTo>
                    <a:pt x="5785721" y="1298731"/>
                    <a:pt x="5990015" y="1435401"/>
                    <a:pt x="6206288" y="1580110"/>
                  </a:cubicBezTo>
                  <a:cubicBezTo>
                    <a:pt x="6375212" y="1693149"/>
                    <a:pt x="6549863" y="1810005"/>
                    <a:pt x="6678546" y="1956420"/>
                  </a:cubicBezTo>
                  <a:cubicBezTo>
                    <a:pt x="6832203" y="2131338"/>
                    <a:pt x="6893276" y="2319331"/>
                    <a:pt x="6865256" y="2531238"/>
                  </a:cubicBezTo>
                  <a:close/>
                </a:path>
              </a:pathLst>
            </a:custGeom>
            <a:grpFill/>
            <a:ln w="4059"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D93A81D1-CBD7-BCC5-C8B7-443D3C9FFDB7}"/>
                </a:ext>
              </a:extLst>
            </p:cNvPr>
            <p:cNvSpPr>
              <a:spLocks noGrp="1" noRot="1" noMove="1" noResize="1" noEditPoints="1" noAdjustHandles="1" noChangeArrowheads="1" noChangeShapeType="1"/>
            </p:cNvSpPr>
            <p:nvPr/>
          </p:nvSpPr>
          <p:spPr>
            <a:xfrm>
              <a:off x="3939524" y="771147"/>
              <a:ext cx="6753547" cy="6017420"/>
            </a:xfrm>
            <a:custGeom>
              <a:avLst/>
              <a:gdLst>
                <a:gd name="connsiteX0" fmla="*/ 6753547 w 6753547"/>
                <a:gd name="connsiteY0" fmla="*/ 1911635 h 6017420"/>
                <a:gd name="connsiteX1" fmla="*/ 6753547 w 6753547"/>
                <a:gd name="connsiteY1" fmla="*/ 3153278 h 6017420"/>
                <a:gd name="connsiteX2" fmla="*/ 5843830 w 6753547"/>
                <a:gd name="connsiteY2" fmla="*/ 4001192 h 6017420"/>
                <a:gd name="connsiteX3" fmla="*/ 5376362 w 6753547"/>
                <a:gd name="connsiteY3" fmla="*/ 4736352 h 6017420"/>
                <a:gd name="connsiteX4" fmla="*/ 4840472 w 6753547"/>
                <a:gd name="connsiteY4" fmla="*/ 5474111 h 6017420"/>
                <a:gd name="connsiteX5" fmla="*/ 4462583 w 6753547"/>
                <a:gd name="connsiteY5" fmla="*/ 5308653 h 6017420"/>
                <a:gd name="connsiteX6" fmla="*/ 4211552 w 6753547"/>
                <a:gd name="connsiteY6" fmla="*/ 4924142 h 6017420"/>
                <a:gd name="connsiteX7" fmla="*/ 4035439 w 6753547"/>
                <a:gd name="connsiteY7" fmla="*/ 4642397 h 6017420"/>
                <a:gd name="connsiteX8" fmla="*/ 3924217 w 6753547"/>
                <a:gd name="connsiteY8" fmla="*/ 4555506 h 6017420"/>
                <a:gd name="connsiteX9" fmla="*/ 3690564 w 6753547"/>
                <a:gd name="connsiteY9" fmla="*/ 4889670 h 6017420"/>
                <a:gd name="connsiteX10" fmla="*/ 3228010 w 6753547"/>
                <a:gd name="connsiteY10" fmla="*/ 5465381 h 6017420"/>
                <a:gd name="connsiteX11" fmla="*/ 2830955 w 6753547"/>
                <a:gd name="connsiteY11" fmla="*/ 5441709 h 6017420"/>
                <a:gd name="connsiteX12" fmla="*/ 2487298 w 6753547"/>
                <a:gd name="connsiteY12" fmla="*/ 5252946 h 6017420"/>
                <a:gd name="connsiteX13" fmla="*/ 2113187 w 6753547"/>
                <a:gd name="connsiteY13" fmla="*/ 5092604 h 6017420"/>
                <a:gd name="connsiteX14" fmla="*/ 2024704 w 6753547"/>
                <a:gd name="connsiteY14" fmla="*/ 5197441 h 6017420"/>
                <a:gd name="connsiteX15" fmla="*/ 1929359 w 6753547"/>
                <a:gd name="connsiteY15" fmla="*/ 5463067 h 6017420"/>
                <a:gd name="connsiteX16" fmla="*/ 1637070 w 6753547"/>
                <a:gd name="connsiteY16" fmla="*/ 6017421 h 6017420"/>
                <a:gd name="connsiteX17" fmla="*/ 1188769 w 6753547"/>
                <a:gd name="connsiteY17" fmla="*/ 6017421 h 6017420"/>
                <a:gd name="connsiteX18" fmla="*/ 1117220 w 6753547"/>
                <a:gd name="connsiteY18" fmla="*/ 5954161 h 6017420"/>
                <a:gd name="connsiteX19" fmla="*/ 904682 w 6753547"/>
                <a:gd name="connsiteY19" fmla="*/ 5619429 h 6017420"/>
                <a:gd name="connsiteX20" fmla="*/ 660391 w 6753547"/>
                <a:gd name="connsiteY20" fmla="*/ 5313607 h 6017420"/>
                <a:gd name="connsiteX21" fmla="*/ 650524 w 6753547"/>
                <a:gd name="connsiteY21" fmla="*/ 5313282 h 6017420"/>
                <a:gd name="connsiteX22" fmla="*/ 640981 w 6753547"/>
                <a:gd name="connsiteY22" fmla="*/ 5310846 h 6017420"/>
                <a:gd name="connsiteX23" fmla="*/ 514003 w 6753547"/>
                <a:gd name="connsiteY23" fmla="*/ 5415155 h 6017420"/>
                <a:gd name="connsiteX24" fmla="*/ 311496 w 6753547"/>
                <a:gd name="connsiteY24" fmla="*/ 5799707 h 6017420"/>
                <a:gd name="connsiteX25" fmla="*/ 206365 w 6753547"/>
                <a:gd name="connsiteY25" fmla="*/ 6017421 h 6017420"/>
                <a:gd name="connsiteX26" fmla="*/ 0 w 6753547"/>
                <a:gd name="connsiteY26" fmla="*/ 6017421 h 6017420"/>
                <a:gd name="connsiteX27" fmla="*/ 146185 w 6753547"/>
                <a:gd name="connsiteY27" fmla="*/ 5721789 h 6017420"/>
                <a:gd name="connsiteX28" fmla="*/ 363798 w 6753547"/>
                <a:gd name="connsiteY28" fmla="*/ 5311089 h 6017420"/>
                <a:gd name="connsiteX29" fmla="*/ 496461 w 6753547"/>
                <a:gd name="connsiteY29" fmla="*/ 5170927 h 6017420"/>
                <a:gd name="connsiteX30" fmla="*/ 676025 w 6753547"/>
                <a:gd name="connsiteY30" fmla="*/ 5131461 h 6017420"/>
                <a:gd name="connsiteX31" fmla="*/ 1066948 w 6753547"/>
                <a:gd name="connsiteY31" fmla="*/ 5535422 h 6017420"/>
                <a:gd name="connsiteX32" fmla="*/ 1460592 w 6753547"/>
                <a:gd name="connsiteY32" fmla="*/ 5901743 h 6017420"/>
                <a:gd name="connsiteX33" fmla="*/ 1754870 w 6753547"/>
                <a:gd name="connsiteY33" fmla="*/ 5408821 h 6017420"/>
                <a:gd name="connsiteX34" fmla="*/ 2061656 w 6753547"/>
                <a:gd name="connsiteY34" fmla="*/ 4917320 h 6017420"/>
                <a:gd name="connsiteX35" fmla="*/ 2585039 w 6753547"/>
                <a:gd name="connsiteY35" fmla="*/ 5098572 h 6017420"/>
                <a:gd name="connsiteX36" fmla="*/ 3166694 w 6753547"/>
                <a:gd name="connsiteY36" fmla="*/ 5293224 h 6017420"/>
                <a:gd name="connsiteX37" fmla="*/ 3523913 w 6753547"/>
                <a:gd name="connsiteY37" fmla="*/ 4814676 h 6017420"/>
                <a:gd name="connsiteX38" fmla="*/ 3668027 w 6753547"/>
                <a:gd name="connsiteY38" fmla="*/ 4535814 h 6017420"/>
                <a:gd name="connsiteX39" fmla="*/ 3910694 w 6753547"/>
                <a:gd name="connsiteY39" fmla="*/ 4373279 h 6017420"/>
                <a:gd name="connsiteX40" fmla="*/ 4178781 w 6753547"/>
                <a:gd name="connsiteY40" fmla="*/ 4529073 h 6017420"/>
                <a:gd name="connsiteX41" fmla="*/ 4370446 w 6753547"/>
                <a:gd name="connsiteY41" fmla="*/ 4833922 h 6017420"/>
                <a:gd name="connsiteX42" fmla="*/ 4802788 w 6753547"/>
                <a:gd name="connsiteY42" fmla="*/ 5295335 h 6017420"/>
                <a:gd name="connsiteX43" fmla="*/ 5206219 w 6753547"/>
                <a:gd name="connsiteY43" fmla="*/ 4669763 h 6017420"/>
                <a:gd name="connsiteX44" fmla="*/ 5770249 w 6753547"/>
                <a:gd name="connsiteY44" fmla="*/ 3833989 h 6017420"/>
                <a:gd name="connsiteX45" fmla="*/ 6702626 w 6753547"/>
                <a:gd name="connsiteY45" fmla="*/ 2478008 h 6017420"/>
                <a:gd name="connsiteX46" fmla="*/ 6188867 w 6753547"/>
                <a:gd name="connsiteY46" fmla="*/ 1612065 h 6017420"/>
                <a:gd name="connsiteX47" fmla="*/ 5725135 w 6753547"/>
                <a:gd name="connsiteY47" fmla="*/ 1203192 h 6017420"/>
                <a:gd name="connsiteX48" fmla="*/ 5492823 w 6753547"/>
                <a:gd name="connsiteY48" fmla="*/ 721964 h 6017420"/>
                <a:gd name="connsiteX49" fmla="*/ 5503218 w 6753547"/>
                <a:gd name="connsiteY49" fmla="*/ 348618 h 6017420"/>
                <a:gd name="connsiteX50" fmla="*/ 5504112 w 6753547"/>
                <a:gd name="connsiteY50" fmla="*/ 82059 h 6017420"/>
                <a:gd name="connsiteX51" fmla="*/ 5460297 w 6753547"/>
                <a:gd name="connsiteY51" fmla="*/ 0 h 6017420"/>
                <a:gd name="connsiteX52" fmla="*/ 5668408 w 6753547"/>
                <a:gd name="connsiteY52" fmla="*/ 0 h 6017420"/>
                <a:gd name="connsiteX53" fmla="*/ 5676772 w 6753547"/>
                <a:gd name="connsiteY53" fmla="*/ 22291 h 6017420"/>
                <a:gd name="connsiteX54" fmla="*/ 5684041 w 6753547"/>
                <a:gd name="connsiteY54" fmla="*/ 374888 h 6017420"/>
                <a:gd name="connsiteX55" fmla="*/ 5867260 w 6753547"/>
                <a:gd name="connsiteY55" fmla="*/ 1088326 h 6017420"/>
                <a:gd name="connsiteX56" fmla="*/ 6295379 w 6753547"/>
                <a:gd name="connsiteY56" fmla="*/ 1463580 h 6017420"/>
                <a:gd name="connsiteX57" fmla="*/ 6699703 w 6753547"/>
                <a:gd name="connsiteY57" fmla="*/ 1827424 h 6017420"/>
                <a:gd name="connsiteX58" fmla="*/ 6753547 w 6753547"/>
                <a:gd name="connsiteY58" fmla="*/ 1911635 h 601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753547" h="6017420">
                  <a:moveTo>
                    <a:pt x="6753547" y="1911635"/>
                  </a:moveTo>
                  <a:lnTo>
                    <a:pt x="6753547" y="3153278"/>
                  </a:lnTo>
                  <a:cubicBezTo>
                    <a:pt x="6614469" y="3470185"/>
                    <a:pt x="6343580" y="3781327"/>
                    <a:pt x="5843830" y="4001192"/>
                  </a:cubicBezTo>
                  <a:cubicBezTo>
                    <a:pt x="5626786" y="4096691"/>
                    <a:pt x="5499482" y="4421881"/>
                    <a:pt x="5376362" y="4736352"/>
                  </a:cubicBezTo>
                  <a:cubicBezTo>
                    <a:pt x="5239232" y="5086595"/>
                    <a:pt x="5109737" y="5417388"/>
                    <a:pt x="4840472" y="5474111"/>
                  </a:cubicBezTo>
                  <a:cubicBezTo>
                    <a:pt x="4709880" y="5501640"/>
                    <a:pt x="4582740" y="5445932"/>
                    <a:pt x="4462583" y="5308653"/>
                  </a:cubicBezTo>
                  <a:cubicBezTo>
                    <a:pt x="4369797" y="5202679"/>
                    <a:pt x="4289354" y="5061096"/>
                    <a:pt x="4211552" y="4924142"/>
                  </a:cubicBezTo>
                  <a:cubicBezTo>
                    <a:pt x="4150275" y="4816259"/>
                    <a:pt x="4092370" y="4714386"/>
                    <a:pt x="4035439" y="4642397"/>
                  </a:cubicBezTo>
                  <a:cubicBezTo>
                    <a:pt x="3971280" y="4561272"/>
                    <a:pt x="3936236" y="4554572"/>
                    <a:pt x="3924217" y="4555506"/>
                  </a:cubicBezTo>
                  <a:cubicBezTo>
                    <a:pt x="3838130" y="4561881"/>
                    <a:pt x="3763088" y="4728516"/>
                    <a:pt x="3690564" y="4889670"/>
                  </a:cubicBezTo>
                  <a:cubicBezTo>
                    <a:pt x="3587300" y="5119077"/>
                    <a:pt x="3470231" y="5379100"/>
                    <a:pt x="3228010" y="5465381"/>
                  </a:cubicBezTo>
                  <a:cubicBezTo>
                    <a:pt x="3109194" y="5507689"/>
                    <a:pt x="2979333" y="5499935"/>
                    <a:pt x="2830955" y="5441709"/>
                  </a:cubicBezTo>
                  <a:cubicBezTo>
                    <a:pt x="2711084" y="5394650"/>
                    <a:pt x="2597303" y="5322621"/>
                    <a:pt x="2487298" y="5252946"/>
                  </a:cubicBezTo>
                  <a:cubicBezTo>
                    <a:pt x="2343956" y="5162198"/>
                    <a:pt x="2195700" y="5068323"/>
                    <a:pt x="2113187" y="5092604"/>
                  </a:cubicBezTo>
                  <a:cubicBezTo>
                    <a:pt x="2084437" y="5101049"/>
                    <a:pt x="2054672" y="5136334"/>
                    <a:pt x="2024704" y="5197441"/>
                  </a:cubicBezTo>
                  <a:cubicBezTo>
                    <a:pt x="1989782" y="5268781"/>
                    <a:pt x="1960423" y="5363142"/>
                    <a:pt x="1929359" y="5463067"/>
                  </a:cubicBezTo>
                  <a:cubicBezTo>
                    <a:pt x="1864469" y="5671807"/>
                    <a:pt x="1792676" y="5902798"/>
                    <a:pt x="1637070" y="6017421"/>
                  </a:cubicBezTo>
                  <a:lnTo>
                    <a:pt x="1188769" y="6017421"/>
                  </a:lnTo>
                  <a:cubicBezTo>
                    <a:pt x="1164120" y="5999596"/>
                    <a:pt x="1140243" y="5978483"/>
                    <a:pt x="1117220" y="5954161"/>
                  </a:cubicBezTo>
                  <a:cubicBezTo>
                    <a:pt x="1030727" y="5862723"/>
                    <a:pt x="966649" y="5739046"/>
                    <a:pt x="904682" y="5619429"/>
                  </a:cubicBezTo>
                  <a:cubicBezTo>
                    <a:pt x="827570" y="5470537"/>
                    <a:pt x="747778" y="5316571"/>
                    <a:pt x="660391" y="5313607"/>
                  </a:cubicBezTo>
                  <a:lnTo>
                    <a:pt x="650524" y="5313282"/>
                  </a:lnTo>
                  <a:lnTo>
                    <a:pt x="640981" y="5310846"/>
                  </a:lnTo>
                  <a:cubicBezTo>
                    <a:pt x="600496" y="5300532"/>
                    <a:pt x="544052" y="5371791"/>
                    <a:pt x="514003" y="5415155"/>
                  </a:cubicBezTo>
                  <a:cubicBezTo>
                    <a:pt x="447611" y="5510978"/>
                    <a:pt x="381502" y="5651221"/>
                    <a:pt x="311496" y="5799707"/>
                  </a:cubicBezTo>
                  <a:cubicBezTo>
                    <a:pt x="277102" y="5872711"/>
                    <a:pt x="242342" y="5946365"/>
                    <a:pt x="206365" y="6017421"/>
                  </a:cubicBezTo>
                  <a:lnTo>
                    <a:pt x="0" y="6017421"/>
                  </a:lnTo>
                  <a:cubicBezTo>
                    <a:pt x="51246" y="5923141"/>
                    <a:pt x="100015" y="5819765"/>
                    <a:pt x="146185" y="5721789"/>
                  </a:cubicBezTo>
                  <a:cubicBezTo>
                    <a:pt x="219521" y="5566280"/>
                    <a:pt x="288756" y="5419378"/>
                    <a:pt x="363798" y="5311089"/>
                  </a:cubicBezTo>
                  <a:cubicBezTo>
                    <a:pt x="408303" y="5246855"/>
                    <a:pt x="451712" y="5201014"/>
                    <a:pt x="496461" y="5170927"/>
                  </a:cubicBezTo>
                  <a:cubicBezTo>
                    <a:pt x="567157" y="5123422"/>
                    <a:pt x="631601" y="5122366"/>
                    <a:pt x="676025" y="5131461"/>
                  </a:cubicBezTo>
                  <a:cubicBezTo>
                    <a:pt x="864279" y="5144210"/>
                    <a:pt x="967299" y="5343044"/>
                    <a:pt x="1066948" y="5535422"/>
                  </a:cubicBezTo>
                  <a:cubicBezTo>
                    <a:pt x="1198596" y="5789556"/>
                    <a:pt x="1290814" y="5941006"/>
                    <a:pt x="1460592" y="5901743"/>
                  </a:cubicBezTo>
                  <a:cubicBezTo>
                    <a:pt x="1612543" y="5866621"/>
                    <a:pt x="1688153" y="5623408"/>
                    <a:pt x="1754870" y="5408821"/>
                  </a:cubicBezTo>
                  <a:cubicBezTo>
                    <a:pt x="1825486" y="5181687"/>
                    <a:pt x="1892203" y="4967140"/>
                    <a:pt x="2061656" y="4917320"/>
                  </a:cubicBezTo>
                  <a:cubicBezTo>
                    <a:pt x="2223556" y="4869733"/>
                    <a:pt x="2399141" y="4980864"/>
                    <a:pt x="2585039" y="5098572"/>
                  </a:cubicBezTo>
                  <a:cubicBezTo>
                    <a:pt x="2784744" y="5225011"/>
                    <a:pt x="2991231" y="5355712"/>
                    <a:pt x="3166694" y="5293224"/>
                  </a:cubicBezTo>
                  <a:cubicBezTo>
                    <a:pt x="3335578" y="5233091"/>
                    <a:pt x="3431329" y="5020371"/>
                    <a:pt x="3523913" y="4814676"/>
                  </a:cubicBezTo>
                  <a:cubicBezTo>
                    <a:pt x="3570530" y="4711179"/>
                    <a:pt x="3614507" y="4613447"/>
                    <a:pt x="3668027" y="4535814"/>
                  </a:cubicBezTo>
                  <a:cubicBezTo>
                    <a:pt x="3738724" y="4433291"/>
                    <a:pt x="3818111" y="4380141"/>
                    <a:pt x="3910694" y="4373279"/>
                  </a:cubicBezTo>
                  <a:cubicBezTo>
                    <a:pt x="4047621" y="4363169"/>
                    <a:pt x="4146336" y="4488024"/>
                    <a:pt x="4178781" y="4529073"/>
                  </a:cubicBezTo>
                  <a:cubicBezTo>
                    <a:pt x="4244362" y="4611985"/>
                    <a:pt x="4305597" y="4719786"/>
                    <a:pt x="4370446" y="4833922"/>
                  </a:cubicBezTo>
                  <a:cubicBezTo>
                    <a:pt x="4501851" y="5065197"/>
                    <a:pt x="4650756" y="5327371"/>
                    <a:pt x="4802788" y="5295335"/>
                  </a:cubicBezTo>
                  <a:cubicBezTo>
                    <a:pt x="4975531" y="5258914"/>
                    <a:pt x="5092804" y="4959426"/>
                    <a:pt x="5206219" y="4669763"/>
                  </a:cubicBezTo>
                  <a:cubicBezTo>
                    <a:pt x="5342861" y="4320739"/>
                    <a:pt x="5484133" y="3959858"/>
                    <a:pt x="5770249" y="3833989"/>
                  </a:cubicBezTo>
                  <a:cubicBezTo>
                    <a:pt x="6394500" y="3559309"/>
                    <a:pt x="6708229" y="3103092"/>
                    <a:pt x="6702626" y="2478008"/>
                  </a:cubicBezTo>
                  <a:cubicBezTo>
                    <a:pt x="6698118" y="1977331"/>
                    <a:pt x="6473400" y="1816136"/>
                    <a:pt x="6188867" y="1612065"/>
                  </a:cubicBezTo>
                  <a:cubicBezTo>
                    <a:pt x="6040326" y="1505482"/>
                    <a:pt x="5871929" y="1384728"/>
                    <a:pt x="5725135" y="1203192"/>
                  </a:cubicBezTo>
                  <a:cubicBezTo>
                    <a:pt x="5595356" y="1042647"/>
                    <a:pt x="5519340" y="885229"/>
                    <a:pt x="5492823" y="721964"/>
                  </a:cubicBezTo>
                  <a:cubicBezTo>
                    <a:pt x="5469676" y="579528"/>
                    <a:pt x="5487503" y="456866"/>
                    <a:pt x="5503218" y="348618"/>
                  </a:cubicBezTo>
                  <a:cubicBezTo>
                    <a:pt x="5517999" y="246907"/>
                    <a:pt x="5530749" y="159042"/>
                    <a:pt x="5504112" y="82059"/>
                  </a:cubicBezTo>
                  <a:cubicBezTo>
                    <a:pt x="5493635" y="51810"/>
                    <a:pt x="5478570" y="24565"/>
                    <a:pt x="5460297" y="0"/>
                  </a:cubicBezTo>
                  <a:lnTo>
                    <a:pt x="5668408" y="0"/>
                  </a:lnTo>
                  <a:cubicBezTo>
                    <a:pt x="5671372" y="7309"/>
                    <a:pt x="5674174" y="14739"/>
                    <a:pt x="5676772" y="22291"/>
                  </a:cubicBezTo>
                  <a:cubicBezTo>
                    <a:pt x="5717989" y="141299"/>
                    <a:pt x="5700731" y="260063"/>
                    <a:pt x="5684041" y="374888"/>
                  </a:cubicBezTo>
                  <a:cubicBezTo>
                    <a:pt x="5654560" y="577782"/>
                    <a:pt x="5624105" y="787578"/>
                    <a:pt x="5867260" y="1088326"/>
                  </a:cubicBezTo>
                  <a:cubicBezTo>
                    <a:pt x="5998502" y="1250657"/>
                    <a:pt x="6149438" y="1358905"/>
                    <a:pt x="6295379" y="1463580"/>
                  </a:cubicBezTo>
                  <a:cubicBezTo>
                    <a:pt x="6446924" y="1572274"/>
                    <a:pt x="6590064" y="1674959"/>
                    <a:pt x="6699703" y="1827424"/>
                  </a:cubicBezTo>
                  <a:cubicBezTo>
                    <a:pt x="6719275" y="1854628"/>
                    <a:pt x="6737223" y="1882644"/>
                    <a:pt x="6753547" y="1911635"/>
                  </a:cubicBezTo>
                  <a:close/>
                </a:path>
              </a:pathLst>
            </a:custGeom>
            <a:grpFill/>
            <a:ln w="4059"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3D298D6F-0263-9D22-C5AC-E06CEB0AB545}"/>
                </a:ext>
              </a:extLst>
            </p:cNvPr>
            <p:cNvSpPr>
              <a:spLocks noGrp="1" noRot="1" noMove="1" noResize="1" noEditPoints="1" noAdjustHandles="1" noChangeArrowheads="1" noChangeShapeType="1"/>
            </p:cNvSpPr>
            <p:nvPr/>
          </p:nvSpPr>
          <p:spPr>
            <a:xfrm>
              <a:off x="4265842" y="6423610"/>
              <a:ext cx="609023" cy="364957"/>
            </a:xfrm>
            <a:custGeom>
              <a:avLst/>
              <a:gdLst>
                <a:gd name="connsiteX0" fmla="*/ 609023 w 609023"/>
                <a:gd name="connsiteY0" fmla="*/ 364958 h 364957"/>
                <a:gd name="connsiteX1" fmla="*/ 358640 w 609023"/>
                <a:gd name="connsiteY1" fmla="*/ 364958 h 364957"/>
                <a:gd name="connsiteX2" fmla="*/ 335779 w 609023"/>
                <a:gd name="connsiteY2" fmla="*/ 309453 h 364957"/>
                <a:gd name="connsiteX3" fmla="*/ 315435 w 609023"/>
                <a:gd name="connsiteY3" fmla="*/ 260242 h 364957"/>
                <a:gd name="connsiteX4" fmla="*/ 284086 w 609023"/>
                <a:gd name="connsiteY4" fmla="*/ 307626 h 364957"/>
                <a:gd name="connsiteX5" fmla="*/ 252656 w 609023"/>
                <a:gd name="connsiteY5" fmla="*/ 364958 h 364957"/>
                <a:gd name="connsiteX6" fmla="*/ 0 w 609023"/>
                <a:gd name="connsiteY6" fmla="*/ 364958 h 364957"/>
                <a:gd name="connsiteX7" fmla="*/ 280797 w 609023"/>
                <a:gd name="connsiteY7" fmla="*/ 9356 h 364957"/>
                <a:gd name="connsiteX8" fmla="*/ 477862 w 609023"/>
                <a:gd name="connsiteY8" fmla="*/ 81791 h 364957"/>
                <a:gd name="connsiteX9" fmla="*/ 546529 w 609023"/>
                <a:gd name="connsiteY9" fmla="*/ 224065 h 364957"/>
                <a:gd name="connsiteX10" fmla="*/ 609023 w 609023"/>
                <a:gd name="connsiteY10" fmla="*/ 364958 h 36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023" h="364957">
                  <a:moveTo>
                    <a:pt x="609023" y="364958"/>
                  </a:moveTo>
                  <a:lnTo>
                    <a:pt x="358640" y="364958"/>
                  </a:lnTo>
                  <a:cubicBezTo>
                    <a:pt x="350438" y="345630"/>
                    <a:pt x="342885" y="326994"/>
                    <a:pt x="335779" y="309453"/>
                  </a:cubicBezTo>
                  <a:cubicBezTo>
                    <a:pt x="329606" y="294145"/>
                    <a:pt x="322460" y="276524"/>
                    <a:pt x="315435" y="260242"/>
                  </a:cubicBezTo>
                  <a:cubicBezTo>
                    <a:pt x="306664" y="271774"/>
                    <a:pt x="296228" y="287162"/>
                    <a:pt x="284086" y="307626"/>
                  </a:cubicBezTo>
                  <a:cubicBezTo>
                    <a:pt x="273772" y="325004"/>
                    <a:pt x="263295" y="344250"/>
                    <a:pt x="252656" y="364958"/>
                  </a:cubicBezTo>
                  <a:lnTo>
                    <a:pt x="0" y="364958"/>
                  </a:lnTo>
                  <a:cubicBezTo>
                    <a:pt x="83691" y="185004"/>
                    <a:pt x="158936" y="47725"/>
                    <a:pt x="280797" y="9356"/>
                  </a:cubicBezTo>
                  <a:cubicBezTo>
                    <a:pt x="314501" y="-2257"/>
                    <a:pt x="406354" y="-21178"/>
                    <a:pt x="477862" y="81791"/>
                  </a:cubicBezTo>
                  <a:cubicBezTo>
                    <a:pt x="504298" y="119796"/>
                    <a:pt x="523870" y="168114"/>
                    <a:pt x="546529" y="224065"/>
                  </a:cubicBezTo>
                  <a:cubicBezTo>
                    <a:pt x="565533" y="271002"/>
                    <a:pt x="585146" y="319360"/>
                    <a:pt x="609023" y="364958"/>
                  </a:cubicBezTo>
                  <a:close/>
                </a:path>
              </a:pathLst>
            </a:custGeom>
            <a:grpFill/>
            <a:ln w="4059" cap="flat">
              <a:noFill/>
              <a:prstDash val="solid"/>
              <a:miter/>
            </a:ln>
          </p:spPr>
          <p:txBody>
            <a:bodyPr rtlCol="0" anchor="ctr"/>
            <a:lstStyle/>
            <a:p>
              <a:endParaRPr lang="en-AU"/>
            </a:p>
          </p:txBody>
        </p:sp>
        <p:sp>
          <p:nvSpPr>
            <p:cNvPr id="8" name="Freeform: Shape 7">
              <a:extLst>
                <a:ext uri="{FF2B5EF4-FFF2-40B4-BE49-F238E27FC236}">
                  <a16:creationId xmlns:a16="http://schemas.microsoft.com/office/drawing/2014/main" id="{7090FA0A-A9C8-4351-9699-DEE5DDD900BE}"/>
                </a:ext>
              </a:extLst>
            </p:cNvPr>
            <p:cNvSpPr>
              <a:spLocks noGrp="1" noRot="1" noMove="1" noResize="1" noEditPoints="1" noAdjustHandles="1" noChangeArrowheads="1" noChangeShapeType="1"/>
            </p:cNvSpPr>
            <p:nvPr/>
          </p:nvSpPr>
          <p:spPr>
            <a:xfrm>
              <a:off x="9785075" y="771147"/>
              <a:ext cx="907996" cy="1751252"/>
            </a:xfrm>
            <a:custGeom>
              <a:avLst/>
              <a:gdLst>
                <a:gd name="connsiteX0" fmla="*/ 907996 w 907996"/>
                <a:gd name="connsiteY0" fmla="*/ 1437472 h 1751252"/>
                <a:gd name="connsiteX1" fmla="*/ 907996 w 907996"/>
                <a:gd name="connsiteY1" fmla="*/ 1751253 h 1751252"/>
                <a:gd name="connsiteX2" fmla="*/ 688434 w 907996"/>
                <a:gd name="connsiteY2" fmla="*/ 1547628 h 1751252"/>
                <a:gd name="connsiteX3" fmla="*/ 262792 w 907996"/>
                <a:gd name="connsiteY3" fmla="*/ 1117600 h 1751252"/>
                <a:gd name="connsiteX4" fmla="*/ 11963 w 907996"/>
                <a:gd name="connsiteY4" fmla="*/ 573397 h 1751252"/>
                <a:gd name="connsiteX5" fmla="*/ 23089 w 907996"/>
                <a:gd name="connsiteY5" fmla="*/ 152465 h 1751252"/>
                <a:gd name="connsiteX6" fmla="*/ 39901 w 907996"/>
                <a:gd name="connsiteY6" fmla="*/ 0 h 1751252"/>
                <a:gd name="connsiteX7" fmla="*/ 267381 w 907996"/>
                <a:gd name="connsiteY7" fmla="*/ 0 h 1751252"/>
                <a:gd name="connsiteX8" fmla="*/ 248337 w 907996"/>
                <a:gd name="connsiteY8" fmla="*/ 183688 h 1751252"/>
                <a:gd name="connsiteX9" fmla="*/ 442803 w 907996"/>
                <a:gd name="connsiteY9" fmla="*/ 978657 h 1751252"/>
                <a:gd name="connsiteX10" fmla="*/ 837462 w 907996"/>
                <a:gd name="connsiteY10" fmla="*/ 1375917 h 1751252"/>
                <a:gd name="connsiteX11" fmla="*/ 907996 w 907996"/>
                <a:gd name="connsiteY11" fmla="*/ 1437472 h 175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7996" h="1751252">
                  <a:moveTo>
                    <a:pt x="907996" y="1437472"/>
                  </a:moveTo>
                  <a:lnTo>
                    <a:pt x="907996" y="1751253"/>
                  </a:lnTo>
                  <a:cubicBezTo>
                    <a:pt x="843269" y="1682024"/>
                    <a:pt x="768958" y="1617506"/>
                    <a:pt x="688434" y="1547628"/>
                  </a:cubicBezTo>
                  <a:cubicBezTo>
                    <a:pt x="555487" y="1432275"/>
                    <a:pt x="404754" y="1301492"/>
                    <a:pt x="262792" y="1117600"/>
                  </a:cubicBezTo>
                  <a:cubicBezTo>
                    <a:pt x="122657" y="936064"/>
                    <a:pt x="40591" y="758019"/>
                    <a:pt x="11963" y="573397"/>
                  </a:cubicBezTo>
                  <a:cubicBezTo>
                    <a:pt x="-12970" y="412568"/>
                    <a:pt x="6197" y="274396"/>
                    <a:pt x="23089" y="152465"/>
                  </a:cubicBezTo>
                  <a:cubicBezTo>
                    <a:pt x="30642" y="98178"/>
                    <a:pt x="37667" y="47465"/>
                    <a:pt x="39901" y="0"/>
                  </a:cubicBezTo>
                  <a:lnTo>
                    <a:pt x="267381" y="0"/>
                  </a:lnTo>
                  <a:cubicBezTo>
                    <a:pt x="265229" y="61960"/>
                    <a:pt x="256701" y="123312"/>
                    <a:pt x="248337" y="183688"/>
                  </a:cubicBezTo>
                  <a:cubicBezTo>
                    <a:pt x="216946" y="410010"/>
                    <a:pt x="184502" y="644046"/>
                    <a:pt x="442803" y="978657"/>
                  </a:cubicBezTo>
                  <a:cubicBezTo>
                    <a:pt x="570918" y="1144602"/>
                    <a:pt x="706423" y="1262188"/>
                    <a:pt x="837462" y="1375917"/>
                  </a:cubicBezTo>
                  <a:cubicBezTo>
                    <a:pt x="861217" y="1396544"/>
                    <a:pt x="884769" y="1416967"/>
                    <a:pt x="907996" y="1437472"/>
                  </a:cubicBezTo>
                  <a:close/>
                </a:path>
              </a:pathLst>
            </a:custGeom>
            <a:grpFill/>
            <a:ln w="4059"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B95B7A19-0D6E-33BF-2CCB-082A6D68E67B}"/>
                </a:ext>
              </a:extLst>
            </p:cNvPr>
            <p:cNvSpPr>
              <a:spLocks noGrp="1" noRot="1" noMove="1" noResize="1" noEditPoints="1" noAdjustHandles="1" noChangeArrowheads="1" noChangeShapeType="1"/>
            </p:cNvSpPr>
            <p:nvPr/>
          </p:nvSpPr>
          <p:spPr>
            <a:xfrm>
              <a:off x="10199115" y="771147"/>
              <a:ext cx="493956" cy="1118087"/>
            </a:xfrm>
            <a:custGeom>
              <a:avLst/>
              <a:gdLst>
                <a:gd name="connsiteX0" fmla="*/ 493957 w 493956"/>
                <a:gd name="connsiteY0" fmla="*/ 794481 h 1118087"/>
                <a:gd name="connsiteX1" fmla="*/ 493957 w 493956"/>
                <a:gd name="connsiteY1" fmla="*/ 1118088 h 1118087"/>
                <a:gd name="connsiteX2" fmla="*/ 218113 w 493956"/>
                <a:gd name="connsiteY2" fmla="*/ 899237 h 1118087"/>
                <a:gd name="connsiteX3" fmla="*/ 257 w 493956"/>
                <a:gd name="connsiteY3" fmla="*/ 518948 h 1118087"/>
                <a:gd name="connsiteX4" fmla="*/ 117124 w 493956"/>
                <a:gd name="connsiteY4" fmla="*/ 207725 h 1118087"/>
                <a:gd name="connsiteX5" fmla="*/ 206256 w 493956"/>
                <a:gd name="connsiteY5" fmla="*/ 0 h 1118087"/>
                <a:gd name="connsiteX6" fmla="*/ 458629 w 493956"/>
                <a:gd name="connsiteY6" fmla="*/ 0 h 1118087"/>
                <a:gd name="connsiteX7" fmla="*/ 334737 w 493956"/>
                <a:gd name="connsiteY7" fmla="*/ 334285 h 1118087"/>
                <a:gd name="connsiteX8" fmla="*/ 251857 w 493956"/>
                <a:gd name="connsiteY8" fmla="*/ 528084 h 1118087"/>
                <a:gd name="connsiteX9" fmla="*/ 371080 w 493956"/>
                <a:gd name="connsiteY9" fmla="*/ 699307 h 1118087"/>
                <a:gd name="connsiteX10" fmla="*/ 493957 w 493956"/>
                <a:gd name="connsiteY10" fmla="*/ 794481 h 111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956" h="1118087">
                  <a:moveTo>
                    <a:pt x="493957" y="794481"/>
                  </a:moveTo>
                  <a:lnTo>
                    <a:pt x="493957" y="1118088"/>
                  </a:lnTo>
                  <a:cubicBezTo>
                    <a:pt x="410916" y="1048859"/>
                    <a:pt x="319184" y="976545"/>
                    <a:pt x="218113" y="899237"/>
                  </a:cubicBezTo>
                  <a:cubicBezTo>
                    <a:pt x="66406" y="783193"/>
                    <a:pt x="-4860" y="658826"/>
                    <a:pt x="257" y="518948"/>
                  </a:cubicBezTo>
                  <a:cubicBezTo>
                    <a:pt x="4521" y="401280"/>
                    <a:pt x="64335" y="298473"/>
                    <a:pt x="117124" y="207725"/>
                  </a:cubicBezTo>
                  <a:cubicBezTo>
                    <a:pt x="166583" y="122703"/>
                    <a:pt x="201424" y="59402"/>
                    <a:pt x="206256" y="0"/>
                  </a:cubicBezTo>
                  <a:lnTo>
                    <a:pt x="458629" y="0"/>
                  </a:lnTo>
                  <a:cubicBezTo>
                    <a:pt x="454162" y="129037"/>
                    <a:pt x="389516" y="240086"/>
                    <a:pt x="334737" y="334285"/>
                  </a:cubicBezTo>
                  <a:cubicBezTo>
                    <a:pt x="293155" y="405828"/>
                    <a:pt x="253847" y="473392"/>
                    <a:pt x="251857" y="528084"/>
                  </a:cubicBezTo>
                  <a:cubicBezTo>
                    <a:pt x="251127" y="547370"/>
                    <a:pt x="249015" y="605920"/>
                    <a:pt x="371080" y="699307"/>
                  </a:cubicBezTo>
                  <a:cubicBezTo>
                    <a:pt x="413473" y="731749"/>
                    <a:pt x="454446" y="763420"/>
                    <a:pt x="493957" y="794481"/>
                  </a:cubicBezTo>
                  <a:close/>
                </a:path>
              </a:pathLst>
            </a:custGeom>
            <a:grpFill/>
            <a:ln w="4059"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782E97ED-A0BC-8D6E-D651-E3381A502394}"/>
                </a:ext>
              </a:extLst>
            </p:cNvPr>
            <p:cNvSpPr>
              <a:spLocks noGrp="1" noRot="1" noMove="1" noResize="1" noEditPoints="1" noAdjustHandles="1" noChangeArrowheads="1" noChangeShapeType="1"/>
            </p:cNvSpPr>
            <p:nvPr/>
          </p:nvSpPr>
          <p:spPr>
            <a:xfrm>
              <a:off x="10441065" y="5898100"/>
              <a:ext cx="252007" cy="890466"/>
            </a:xfrm>
            <a:custGeom>
              <a:avLst/>
              <a:gdLst>
                <a:gd name="connsiteX0" fmla="*/ 252007 w 252007"/>
                <a:gd name="connsiteY0" fmla="*/ 0 h 890466"/>
                <a:gd name="connsiteX1" fmla="*/ 252007 w 252007"/>
                <a:gd name="connsiteY1" fmla="*/ 890467 h 890466"/>
                <a:gd name="connsiteX2" fmla="*/ 0 w 252007"/>
                <a:gd name="connsiteY2" fmla="*/ 890467 h 890466"/>
                <a:gd name="connsiteX3" fmla="*/ 65174 w 252007"/>
                <a:gd name="connsiteY3" fmla="*/ 572342 h 890466"/>
                <a:gd name="connsiteX4" fmla="*/ 242667 w 252007"/>
                <a:gd name="connsiteY4" fmla="*/ 12953 h 890466"/>
                <a:gd name="connsiteX5" fmla="*/ 252007 w 252007"/>
                <a:gd name="connsiteY5" fmla="*/ 0 h 89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07" h="890466">
                  <a:moveTo>
                    <a:pt x="252007" y="0"/>
                  </a:moveTo>
                  <a:lnTo>
                    <a:pt x="252007" y="890467"/>
                  </a:lnTo>
                  <a:cubicBezTo>
                    <a:pt x="252007" y="890467"/>
                    <a:pt x="0" y="890467"/>
                    <a:pt x="0" y="890467"/>
                  </a:cubicBezTo>
                  <a:cubicBezTo>
                    <a:pt x="31998" y="791842"/>
                    <a:pt x="48160" y="684771"/>
                    <a:pt x="65174" y="572342"/>
                  </a:cubicBezTo>
                  <a:cubicBezTo>
                    <a:pt x="94208" y="380208"/>
                    <a:pt x="124217" y="181537"/>
                    <a:pt x="242667" y="12953"/>
                  </a:cubicBezTo>
                  <a:cubicBezTo>
                    <a:pt x="245713" y="8608"/>
                    <a:pt x="248840" y="4264"/>
                    <a:pt x="252007" y="0"/>
                  </a:cubicBezTo>
                  <a:close/>
                </a:path>
              </a:pathLst>
            </a:custGeom>
            <a:grpFill/>
            <a:ln w="4059"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CBAA0543-4AB4-0499-34A4-ADBEDA053F82}"/>
                </a:ext>
              </a:extLst>
            </p:cNvPr>
            <p:cNvSpPr>
              <a:spLocks noGrp="1" noRot="1" noMove="1" noResize="1" noEditPoints="1" noAdjustHandles="1" noChangeArrowheads="1" noChangeShapeType="1"/>
            </p:cNvSpPr>
            <p:nvPr/>
          </p:nvSpPr>
          <p:spPr>
            <a:xfrm>
              <a:off x="9867898" y="5302169"/>
              <a:ext cx="825173" cy="1486398"/>
            </a:xfrm>
            <a:custGeom>
              <a:avLst/>
              <a:gdLst>
                <a:gd name="connsiteX0" fmla="*/ 825174 w 825173"/>
                <a:gd name="connsiteY0" fmla="*/ 0 h 1486398"/>
                <a:gd name="connsiteX1" fmla="*/ 825174 w 825173"/>
                <a:gd name="connsiteY1" fmla="*/ 331849 h 1486398"/>
                <a:gd name="connsiteX2" fmla="*/ 655477 w 825173"/>
                <a:gd name="connsiteY2" fmla="*/ 486060 h 1486398"/>
                <a:gd name="connsiteX3" fmla="*/ 526469 w 825173"/>
                <a:gd name="connsiteY3" fmla="*/ 924492 h 1486398"/>
                <a:gd name="connsiteX4" fmla="*/ 363107 w 825173"/>
                <a:gd name="connsiteY4" fmla="*/ 1486398 h 1486398"/>
                <a:gd name="connsiteX5" fmla="*/ 0 w 825173"/>
                <a:gd name="connsiteY5" fmla="*/ 1486398 h 1486398"/>
                <a:gd name="connsiteX6" fmla="*/ 245388 w 825173"/>
                <a:gd name="connsiteY6" fmla="*/ 882062 h 1486398"/>
                <a:gd name="connsiteX7" fmla="*/ 422921 w 825173"/>
                <a:gd name="connsiteY7" fmla="*/ 322632 h 1486398"/>
                <a:gd name="connsiteX8" fmla="*/ 825174 w 825173"/>
                <a:gd name="connsiteY8" fmla="*/ 0 h 148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173" h="1486398">
                  <a:moveTo>
                    <a:pt x="825174" y="0"/>
                  </a:moveTo>
                  <a:lnTo>
                    <a:pt x="825174" y="331849"/>
                  </a:lnTo>
                  <a:cubicBezTo>
                    <a:pt x="754436" y="379355"/>
                    <a:pt x="695150" y="429621"/>
                    <a:pt x="655477" y="486060"/>
                  </a:cubicBezTo>
                  <a:cubicBezTo>
                    <a:pt x="575482" y="599870"/>
                    <a:pt x="551686" y="757532"/>
                    <a:pt x="526469" y="924492"/>
                  </a:cubicBezTo>
                  <a:cubicBezTo>
                    <a:pt x="499547" y="1102780"/>
                    <a:pt x="469172" y="1303766"/>
                    <a:pt x="363107" y="1486398"/>
                  </a:cubicBezTo>
                  <a:lnTo>
                    <a:pt x="0" y="1486398"/>
                  </a:lnTo>
                  <a:cubicBezTo>
                    <a:pt x="178224" y="1326828"/>
                    <a:pt x="210060" y="1115976"/>
                    <a:pt x="245388" y="882062"/>
                  </a:cubicBezTo>
                  <a:cubicBezTo>
                    <a:pt x="274421" y="689928"/>
                    <a:pt x="304430" y="491216"/>
                    <a:pt x="422921" y="322632"/>
                  </a:cubicBezTo>
                  <a:cubicBezTo>
                    <a:pt x="519444" y="185272"/>
                    <a:pt x="664207" y="89570"/>
                    <a:pt x="825174" y="0"/>
                  </a:cubicBezTo>
                  <a:close/>
                </a:path>
              </a:pathLst>
            </a:custGeom>
            <a:grpFill/>
            <a:ln w="4059"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91B23422-BCC4-BE53-2875-7371FD021FC4}"/>
                </a:ext>
              </a:extLst>
            </p:cNvPr>
            <p:cNvSpPr>
              <a:spLocks noGrp="1" noRot="1" noMove="1" noResize="1" noEditPoints="1" noAdjustHandles="1" noChangeArrowheads="1" noChangeShapeType="1"/>
            </p:cNvSpPr>
            <p:nvPr/>
          </p:nvSpPr>
          <p:spPr>
            <a:xfrm>
              <a:off x="7442200" y="4841689"/>
              <a:ext cx="3250871" cy="1946878"/>
            </a:xfrm>
            <a:custGeom>
              <a:avLst/>
              <a:gdLst>
                <a:gd name="connsiteX0" fmla="*/ 3250872 w 3250871"/>
                <a:gd name="connsiteY0" fmla="*/ 0 h 1946878"/>
                <a:gd name="connsiteX1" fmla="*/ 3250872 w 3250871"/>
                <a:gd name="connsiteY1" fmla="*/ 326490 h 1946878"/>
                <a:gd name="connsiteX2" fmla="*/ 2841554 w 3250871"/>
                <a:gd name="connsiteY2" fmla="*/ 594998 h 1946878"/>
                <a:gd name="connsiteX3" fmla="*/ 2581588 w 3250871"/>
                <a:gd name="connsiteY3" fmla="*/ 1088123 h 1946878"/>
                <a:gd name="connsiteX4" fmla="*/ 2333195 w 3250871"/>
                <a:gd name="connsiteY4" fmla="*/ 1695586 h 1946878"/>
                <a:gd name="connsiteX5" fmla="*/ 2066082 w 3250871"/>
                <a:gd name="connsiteY5" fmla="*/ 1946878 h 1946878"/>
                <a:gd name="connsiteX6" fmla="*/ 698318 w 3250871"/>
                <a:gd name="connsiteY6" fmla="*/ 1946878 h 1946878"/>
                <a:gd name="connsiteX7" fmla="*/ 545027 w 3250871"/>
                <a:gd name="connsiteY7" fmla="*/ 1807813 h 1946878"/>
                <a:gd name="connsiteX8" fmla="*/ 474046 w 3250871"/>
                <a:gd name="connsiteY8" fmla="*/ 1741629 h 1946878"/>
                <a:gd name="connsiteX9" fmla="*/ 384101 w 3250871"/>
                <a:gd name="connsiteY9" fmla="*/ 1863885 h 1946878"/>
                <a:gd name="connsiteX10" fmla="*/ 335617 w 3250871"/>
                <a:gd name="connsiteY10" fmla="*/ 1946878 h 1946878"/>
                <a:gd name="connsiteX11" fmla="*/ 0 w 3250871"/>
                <a:gd name="connsiteY11" fmla="*/ 1946878 h 1946878"/>
                <a:gd name="connsiteX12" fmla="*/ 164661 w 3250871"/>
                <a:gd name="connsiteY12" fmla="*/ 1740533 h 1946878"/>
                <a:gd name="connsiteX13" fmla="*/ 479040 w 3250871"/>
                <a:gd name="connsiteY13" fmla="*/ 1486196 h 1946878"/>
                <a:gd name="connsiteX14" fmla="*/ 721058 w 3250871"/>
                <a:gd name="connsiteY14" fmla="*/ 1627819 h 1946878"/>
                <a:gd name="connsiteX15" fmla="*/ 1519148 w 3250871"/>
                <a:gd name="connsiteY15" fmla="*/ 1897099 h 1946878"/>
                <a:gd name="connsiteX16" fmla="*/ 2337702 w 3250871"/>
                <a:gd name="connsiteY16" fmla="*/ 1025634 h 1946878"/>
                <a:gd name="connsiteX17" fmla="*/ 2720139 w 3250871"/>
                <a:gd name="connsiteY17" fmla="*/ 374442 h 1946878"/>
                <a:gd name="connsiteX18" fmla="*/ 3250872 w 3250871"/>
                <a:gd name="connsiteY18" fmla="*/ 0 h 194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50871" h="1946878">
                  <a:moveTo>
                    <a:pt x="3250872" y="0"/>
                  </a:moveTo>
                  <a:lnTo>
                    <a:pt x="3250872" y="326490"/>
                  </a:lnTo>
                  <a:cubicBezTo>
                    <a:pt x="3123569" y="425155"/>
                    <a:pt x="2986439" y="515254"/>
                    <a:pt x="2841554" y="594998"/>
                  </a:cubicBezTo>
                  <a:cubicBezTo>
                    <a:pt x="2693501" y="676448"/>
                    <a:pt x="2646315" y="835409"/>
                    <a:pt x="2581588" y="1088123"/>
                  </a:cubicBezTo>
                  <a:cubicBezTo>
                    <a:pt x="2531885" y="1282002"/>
                    <a:pt x="2475562" y="1501787"/>
                    <a:pt x="2333195" y="1695586"/>
                  </a:cubicBezTo>
                  <a:cubicBezTo>
                    <a:pt x="2260752" y="1794211"/>
                    <a:pt x="2172107" y="1877731"/>
                    <a:pt x="2066082" y="1946878"/>
                  </a:cubicBezTo>
                  <a:lnTo>
                    <a:pt x="698318" y="1946878"/>
                  </a:lnTo>
                  <a:cubicBezTo>
                    <a:pt x="636961" y="1897708"/>
                    <a:pt x="586487" y="1848375"/>
                    <a:pt x="545027" y="1807813"/>
                  </a:cubicBezTo>
                  <a:cubicBezTo>
                    <a:pt x="522205" y="1785522"/>
                    <a:pt x="492765" y="1756693"/>
                    <a:pt x="474046" y="1741629"/>
                  </a:cubicBezTo>
                  <a:cubicBezTo>
                    <a:pt x="450047" y="1752227"/>
                    <a:pt x="428160" y="1785562"/>
                    <a:pt x="384101" y="1863885"/>
                  </a:cubicBezTo>
                  <a:cubicBezTo>
                    <a:pt x="369401" y="1890034"/>
                    <a:pt x="353605" y="1918131"/>
                    <a:pt x="335617" y="1946878"/>
                  </a:cubicBezTo>
                  <a:lnTo>
                    <a:pt x="0" y="1946878"/>
                  </a:lnTo>
                  <a:cubicBezTo>
                    <a:pt x="77600" y="1895353"/>
                    <a:pt x="120278" y="1819506"/>
                    <a:pt x="164661" y="1740533"/>
                  </a:cubicBezTo>
                  <a:cubicBezTo>
                    <a:pt x="226221" y="1631067"/>
                    <a:pt x="302806" y="1494803"/>
                    <a:pt x="479040" y="1486196"/>
                  </a:cubicBezTo>
                  <a:cubicBezTo>
                    <a:pt x="571624" y="1481729"/>
                    <a:pt x="637529" y="1546166"/>
                    <a:pt x="721058" y="1627819"/>
                  </a:cubicBezTo>
                  <a:cubicBezTo>
                    <a:pt x="869152" y="1772610"/>
                    <a:pt x="1092936" y="1991420"/>
                    <a:pt x="1519148" y="1897099"/>
                  </a:cubicBezTo>
                  <a:cubicBezTo>
                    <a:pt x="2150179" y="1757424"/>
                    <a:pt x="2241261" y="1401944"/>
                    <a:pt x="2337702" y="1025634"/>
                  </a:cubicBezTo>
                  <a:cubicBezTo>
                    <a:pt x="2402308" y="773367"/>
                    <a:pt x="2469147" y="512533"/>
                    <a:pt x="2720139" y="374442"/>
                  </a:cubicBezTo>
                  <a:cubicBezTo>
                    <a:pt x="2918098" y="265504"/>
                    <a:pt x="3095996" y="139350"/>
                    <a:pt x="3250872" y="0"/>
                  </a:cubicBezTo>
                  <a:close/>
                </a:path>
              </a:pathLst>
            </a:custGeom>
            <a:grpFill/>
            <a:ln w="4059"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CBB31020-E8D0-4998-DB74-9B491CAFD1D9}"/>
                </a:ext>
              </a:extLst>
            </p:cNvPr>
            <p:cNvSpPr>
              <a:spLocks noGrp="1" noRot="1" noMove="1" noResize="1" noEditPoints="1" noAdjustHandles="1" noChangeArrowheads="1" noChangeShapeType="1"/>
            </p:cNvSpPr>
            <p:nvPr/>
          </p:nvSpPr>
          <p:spPr>
            <a:xfrm>
              <a:off x="5710110" y="4129226"/>
              <a:ext cx="4982961" cy="2659340"/>
            </a:xfrm>
            <a:custGeom>
              <a:avLst/>
              <a:gdLst>
                <a:gd name="connsiteX0" fmla="*/ 4982962 w 4982961"/>
                <a:gd name="connsiteY0" fmla="*/ 0 h 2659340"/>
                <a:gd name="connsiteX1" fmla="*/ 4982962 w 4982961"/>
                <a:gd name="connsiteY1" fmla="*/ 386745 h 2659340"/>
                <a:gd name="connsiteX2" fmla="*/ 4265843 w 4982961"/>
                <a:gd name="connsiteY2" fmla="*/ 972363 h 2659340"/>
                <a:gd name="connsiteX3" fmla="*/ 3877721 w 4982961"/>
                <a:gd name="connsiteY3" fmla="*/ 1622825 h 2659340"/>
                <a:gd name="connsiteX4" fmla="*/ 3623766 w 4982961"/>
                <a:gd name="connsiteY4" fmla="*/ 2167191 h 2659340"/>
                <a:gd name="connsiteX5" fmla="*/ 3157598 w 4982961"/>
                <a:gd name="connsiteY5" fmla="*/ 2506714 h 2659340"/>
                <a:gd name="connsiteX6" fmla="*/ 2535134 w 4982961"/>
                <a:gd name="connsiteY6" fmla="*/ 2328548 h 2659340"/>
                <a:gd name="connsiteX7" fmla="*/ 2207842 w 4982961"/>
                <a:gd name="connsiteY7" fmla="*/ 1917319 h 2659340"/>
                <a:gd name="connsiteX8" fmla="*/ 2146363 w 4982961"/>
                <a:gd name="connsiteY8" fmla="*/ 1822998 h 2659340"/>
                <a:gd name="connsiteX9" fmla="*/ 2104375 w 4982961"/>
                <a:gd name="connsiteY9" fmla="*/ 1874158 h 2659340"/>
                <a:gd name="connsiteX10" fmla="*/ 1989944 w 4982961"/>
                <a:gd name="connsiteY10" fmla="*/ 2072829 h 2659340"/>
                <a:gd name="connsiteX11" fmla="*/ 1590047 w 4982961"/>
                <a:gd name="connsiteY11" fmla="*/ 2507161 h 2659340"/>
                <a:gd name="connsiteX12" fmla="*/ 1475129 w 4982961"/>
                <a:gd name="connsiteY12" fmla="*/ 2515687 h 2659340"/>
                <a:gd name="connsiteX13" fmla="*/ 868096 w 4982961"/>
                <a:gd name="connsiteY13" fmla="*/ 2358919 h 2659340"/>
                <a:gd name="connsiteX14" fmla="*/ 509902 w 4982961"/>
                <a:gd name="connsiteY14" fmla="*/ 2261999 h 2659340"/>
                <a:gd name="connsiteX15" fmla="*/ 340774 w 4982961"/>
                <a:gd name="connsiteY15" fmla="*/ 2501273 h 2659340"/>
                <a:gd name="connsiteX16" fmla="*/ 266138 w 4982961"/>
                <a:gd name="connsiteY16" fmla="*/ 2659341 h 2659340"/>
                <a:gd name="connsiteX17" fmla="*/ 0 w 4982961"/>
                <a:gd name="connsiteY17" fmla="*/ 2659341 h 2659340"/>
                <a:gd name="connsiteX18" fmla="*/ 132866 w 4982961"/>
                <a:gd name="connsiteY18" fmla="*/ 2409104 h 2659340"/>
                <a:gd name="connsiteX19" fmla="*/ 459468 w 4982961"/>
                <a:gd name="connsiteY19" fmla="*/ 2040306 h 2659340"/>
                <a:gd name="connsiteX20" fmla="*/ 952112 w 4982961"/>
                <a:gd name="connsiteY20" fmla="*/ 2147620 h 2659340"/>
                <a:gd name="connsiteX21" fmla="*/ 1555856 w 4982961"/>
                <a:gd name="connsiteY21" fmla="*/ 2282382 h 2659340"/>
                <a:gd name="connsiteX22" fmla="*/ 1653191 w 4982961"/>
                <a:gd name="connsiteY22" fmla="*/ 2197359 h 2659340"/>
                <a:gd name="connsiteX23" fmla="*/ 1789021 w 4982961"/>
                <a:gd name="connsiteY23" fmla="*/ 1966246 h 2659340"/>
                <a:gd name="connsiteX24" fmla="*/ 2158098 w 4982961"/>
                <a:gd name="connsiteY24" fmla="*/ 1577999 h 2659340"/>
                <a:gd name="connsiteX25" fmla="*/ 2313542 w 4982961"/>
                <a:gd name="connsiteY25" fmla="*/ 1666960 h 2659340"/>
                <a:gd name="connsiteX26" fmla="*/ 2400156 w 4982961"/>
                <a:gd name="connsiteY26" fmla="*/ 1795957 h 2659340"/>
                <a:gd name="connsiteX27" fmla="*/ 3117762 w 4982961"/>
                <a:gd name="connsiteY27" fmla="*/ 2282829 h 2659340"/>
                <a:gd name="connsiteX28" fmla="*/ 3433563 w 4982961"/>
                <a:gd name="connsiteY28" fmla="*/ 2042580 h 2659340"/>
                <a:gd name="connsiteX29" fmla="*/ 3665753 w 4982961"/>
                <a:gd name="connsiteY29" fmla="*/ 1540482 h 2659340"/>
                <a:gd name="connsiteX30" fmla="*/ 4153565 w 4982961"/>
                <a:gd name="connsiteY30" fmla="*/ 774667 h 2659340"/>
                <a:gd name="connsiteX31" fmla="*/ 4982962 w 4982961"/>
                <a:gd name="connsiteY31" fmla="*/ 0 h 265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982961" h="2659340">
                  <a:moveTo>
                    <a:pt x="4982962" y="0"/>
                  </a:moveTo>
                  <a:lnTo>
                    <a:pt x="4982962" y="386745"/>
                  </a:lnTo>
                  <a:cubicBezTo>
                    <a:pt x="4791216" y="612701"/>
                    <a:pt x="4545868" y="813361"/>
                    <a:pt x="4265843" y="972363"/>
                  </a:cubicBezTo>
                  <a:cubicBezTo>
                    <a:pt x="4092126" y="1071029"/>
                    <a:pt x="3983138" y="1351556"/>
                    <a:pt x="3877721" y="1622825"/>
                  </a:cubicBezTo>
                  <a:cubicBezTo>
                    <a:pt x="3804142" y="1812198"/>
                    <a:pt x="3728044" y="2007986"/>
                    <a:pt x="3623766" y="2167191"/>
                  </a:cubicBezTo>
                  <a:cubicBezTo>
                    <a:pt x="3495732" y="2362614"/>
                    <a:pt x="3343253" y="2473663"/>
                    <a:pt x="3157598" y="2506714"/>
                  </a:cubicBezTo>
                  <a:cubicBezTo>
                    <a:pt x="2929670" y="2547236"/>
                    <a:pt x="2720261" y="2487306"/>
                    <a:pt x="2535134" y="2328548"/>
                  </a:cubicBezTo>
                  <a:cubicBezTo>
                    <a:pt x="2387527" y="2201988"/>
                    <a:pt x="2283654" y="2037464"/>
                    <a:pt x="2207842" y="1917319"/>
                  </a:cubicBezTo>
                  <a:cubicBezTo>
                    <a:pt x="2187822" y="1885608"/>
                    <a:pt x="2164676" y="1848903"/>
                    <a:pt x="2146363" y="1822998"/>
                  </a:cubicBezTo>
                  <a:cubicBezTo>
                    <a:pt x="2135805" y="1833271"/>
                    <a:pt x="2121795" y="1849268"/>
                    <a:pt x="2104375" y="1874158"/>
                  </a:cubicBezTo>
                  <a:cubicBezTo>
                    <a:pt x="2067098" y="1927348"/>
                    <a:pt x="2029617" y="1997998"/>
                    <a:pt x="1989944" y="2072829"/>
                  </a:cubicBezTo>
                  <a:cubicBezTo>
                    <a:pt x="1883960" y="2272556"/>
                    <a:pt x="1774403" y="2479104"/>
                    <a:pt x="1590047" y="2507161"/>
                  </a:cubicBezTo>
                  <a:cubicBezTo>
                    <a:pt x="1551674" y="2513007"/>
                    <a:pt x="1513300" y="2515687"/>
                    <a:pt x="1475129" y="2515687"/>
                  </a:cubicBezTo>
                  <a:cubicBezTo>
                    <a:pt x="1262389" y="2515687"/>
                    <a:pt x="1054726" y="2433101"/>
                    <a:pt x="868096" y="2358919"/>
                  </a:cubicBezTo>
                  <a:cubicBezTo>
                    <a:pt x="727799" y="2303130"/>
                    <a:pt x="582751" y="2245473"/>
                    <a:pt x="509902" y="2261999"/>
                  </a:cubicBezTo>
                  <a:cubicBezTo>
                    <a:pt x="443184" y="2277185"/>
                    <a:pt x="402131" y="2362817"/>
                    <a:pt x="340774" y="2501273"/>
                  </a:cubicBezTo>
                  <a:cubicBezTo>
                    <a:pt x="318765" y="2550890"/>
                    <a:pt x="294848" y="2604770"/>
                    <a:pt x="266138" y="2659341"/>
                  </a:cubicBezTo>
                  <a:lnTo>
                    <a:pt x="0" y="2659341"/>
                  </a:lnTo>
                  <a:cubicBezTo>
                    <a:pt x="55672" y="2583251"/>
                    <a:pt x="94533" y="2495508"/>
                    <a:pt x="132866" y="2409104"/>
                  </a:cubicBezTo>
                  <a:cubicBezTo>
                    <a:pt x="204294" y="2248031"/>
                    <a:pt x="278118" y="2081518"/>
                    <a:pt x="459468" y="2040306"/>
                  </a:cubicBezTo>
                  <a:cubicBezTo>
                    <a:pt x="601146" y="2008108"/>
                    <a:pt x="763817" y="2072748"/>
                    <a:pt x="952112" y="2147620"/>
                  </a:cubicBezTo>
                  <a:cubicBezTo>
                    <a:pt x="1145360" y="2224441"/>
                    <a:pt x="1364354" y="2311535"/>
                    <a:pt x="1555856" y="2282382"/>
                  </a:cubicBezTo>
                  <a:cubicBezTo>
                    <a:pt x="1570312" y="2280189"/>
                    <a:pt x="1602189" y="2266222"/>
                    <a:pt x="1653191" y="2197359"/>
                  </a:cubicBezTo>
                  <a:cubicBezTo>
                    <a:pt x="1699727" y="2134627"/>
                    <a:pt x="1745125" y="2049036"/>
                    <a:pt x="1789021" y="1966246"/>
                  </a:cubicBezTo>
                  <a:cubicBezTo>
                    <a:pt x="1892650" y="1770904"/>
                    <a:pt x="1990513" y="1586404"/>
                    <a:pt x="2158098" y="1577999"/>
                  </a:cubicBezTo>
                  <a:cubicBezTo>
                    <a:pt x="2240530" y="1573858"/>
                    <a:pt x="2293563" y="1641502"/>
                    <a:pt x="2313542" y="1666960"/>
                  </a:cubicBezTo>
                  <a:cubicBezTo>
                    <a:pt x="2340180" y="1700945"/>
                    <a:pt x="2367955" y="1744959"/>
                    <a:pt x="2400156" y="1795957"/>
                  </a:cubicBezTo>
                  <a:cubicBezTo>
                    <a:pt x="2539032" y="2015985"/>
                    <a:pt x="2748848" y="2348403"/>
                    <a:pt x="3117762" y="2282829"/>
                  </a:cubicBezTo>
                  <a:cubicBezTo>
                    <a:pt x="3240071" y="2261106"/>
                    <a:pt x="3340410" y="2184731"/>
                    <a:pt x="3433563" y="2042580"/>
                  </a:cubicBezTo>
                  <a:cubicBezTo>
                    <a:pt x="3524725" y="1903392"/>
                    <a:pt x="3596438" y="1718892"/>
                    <a:pt x="3665753" y="1540482"/>
                  </a:cubicBezTo>
                  <a:cubicBezTo>
                    <a:pt x="3785584" y="1232101"/>
                    <a:pt x="3909476" y="913245"/>
                    <a:pt x="4153565" y="774667"/>
                  </a:cubicBezTo>
                  <a:cubicBezTo>
                    <a:pt x="4515494" y="569134"/>
                    <a:pt x="4797672" y="302656"/>
                    <a:pt x="4982962" y="0"/>
                  </a:cubicBezTo>
                  <a:close/>
                </a:path>
              </a:pathLst>
            </a:custGeom>
            <a:grpFill/>
            <a:ln w="4059"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FCF07F4C-A507-16EB-1F53-61AB2E060F60}"/>
                </a:ext>
              </a:extLst>
            </p:cNvPr>
            <p:cNvSpPr>
              <a:spLocks noGrp="1" noRot="1" noMove="1" noResize="1" noEditPoints="1" noAdjustHandles="1" noChangeArrowheads="1" noChangeShapeType="1"/>
            </p:cNvSpPr>
            <p:nvPr/>
          </p:nvSpPr>
          <p:spPr>
            <a:xfrm>
              <a:off x="6102048" y="6604068"/>
              <a:ext cx="920072" cy="184498"/>
            </a:xfrm>
            <a:custGeom>
              <a:avLst/>
              <a:gdLst>
                <a:gd name="connsiteX0" fmla="*/ 920073 w 920072"/>
                <a:gd name="connsiteY0" fmla="*/ 184499 h 184498"/>
                <a:gd name="connsiteX1" fmla="*/ 0 w 920072"/>
                <a:gd name="connsiteY1" fmla="*/ 184499 h 184498"/>
                <a:gd name="connsiteX2" fmla="*/ 247378 w 920072"/>
                <a:gd name="connsiteY2" fmla="*/ 22330 h 184498"/>
                <a:gd name="connsiteX3" fmla="*/ 803206 w 920072"/>
                <a:gd name="connsiteY3" fmla="*/ 129279 h 184498"/>
                <a:gd name="connsiteX4" fmla="*/ 920073 w 920072"/>
                <a:gd name="connsiteY4" fmla="*/ 184499 h 18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072" h="184498">
                  <a:moveTo>
                    <a:pt x="920073" y="184499"/>
                  </a:moveTo>
                  <a:lnTo>
                    <a:pt x="0" y="184499"/>
                  </a:lnTo>
                  <a:cubicBezTo>
                    <a:pt x="64768" y="115758"/>
                    <a:pt x="141718" y="56315"/>
                    <a:pt x="247378" y="22330"/>
                  </a:cubicBezTo>
                  <a:cubicBezTo>
                    <a:pt x="451022" y="-43163"/>
                    <a:pt x="638139" y="48438"/>
                    <a:pt x="803206" y="129279"/>
                  </a:cubicBezTo>
                  <a:cubicBezTo>
                    <a:pt x="842676" y="148606"/>
                    <a:pt x="881578" y="167649"/>
                    <a:pt x="920073" y="184499"/>
                  </a:cubicBezTo>
                  <a:close/>
                </a:path>
              </a:pathLst>
            </a:custGeom>
            <a:grpFill/>
            <a:ln w="4059" cap="flat">
              <a:noFill/>
              <a:prstDash val="solid"/>
              <a:miter/>
            </a:ln>
          </p:spPr>
          <p:txBody>
            <a:bodyPr rtlCol="0" anchor="ctr"/>
            <a:lstStyle/>
            <a:p>
              <a:endParaRPr lang="en-AU"/>
            </a:p>
          </p:txBody>
        </p:sp>
      </p:grpSp>
      <p:sp>
        <p:nvSpPr>
          <p:cNvPr id="15" name="Title 14">
            <a:extLst>
              <a:ext uri="{FF2B5EF4-FFF2-40B4-BE49-F238E27FC236}">
                <a16:creationId xmlns:a16="http://schemas.microsoft.com/office/drawing/2014/main" id="{D1F9B188-20A1-A088-CA09-96BCF56D8BE6}"/>
              </a:ext>
            </a:extLst>
          </p:cNvPr>
          <p:cNvSpPr>
            <a:spLocks noGrp="1"/>
          </p:cNvSpPr>
          <p:nvPr>
            <p:ph type="title" idx="4294967295"/>
          </p:nvPr>
        </p:nvSpPr>
        <p:spPr>
          <a:xfrm>
            <a:off x="387449" y="396121"/>
            <a:ext cx="5625762" cy="37993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chemeClr val="accent3">
                    <a:lumMod val="100000"/>
                  </a:schemeClr>
                </a:solidFill>
                <a:effectLst/>
                <a:uLnTx/>
                <a:uFillTx/>
                <a:latin typeface="+mj-lt"/>
                <a:ea typeface="Segoe UI" panose="020B0502040204020203" pitchFamily="34" charset="0"/>
                <a:cs typeface="Times New Roman" panose="02020603050405020304" pitchFamily="18" charset="0"/>
              </a:rPr>
              <a:t>Recommendations</a:t>
            </a:r>
            <a:endParaRPr kumimoji="0" lang="en-AU" sz="1800" b="1" i="0" u="none" strike="noStrike" kern="1200" cap="none" spc="0" normalizeH="0" baseline="0" noProof="0" dirty="0">
              <a:ln>
                <a:noFill/>
              </a:ln>
              <a:solidFill>
                <a:schemeClr val="accent3">
                  <a:lumMod val="100000"/>
                </a:schemeClr>
              </a:solidFill>
              <a:effectLst/>
              <a:uLnTx/>
              <a:uFillTx/>
              <a:latin typeface="+mj-lt"/>
              <a:ea typeface="+mn-ea"/>
              <a:cs typeface="+mn-cs"/>
            </a:endParaRPr>
          </a:p>
        </p:txBody>
      </p:sp>
      <p:sp>
        <p:nvSpPr>
          <p:cNvPr id="37" name="TextBox 36">
            <a:extLst>
              <a:ext uri="{FF2B5EF4-FFF2-40B4-BE49-F238E27FC236}">
                <a16:creationId xmlns:a16="http://schemas.microsoft.com/office/drawing/2014/main" id="{68DAC242-2733-9666-21EC-3634C55B154B}"/>
              </a:ext>
            </a:extLst>
          </p:cNvPr>
          <p:cNvSpPr txBox="1"/>
          <p:nvPr/>
        </p:nvSpPr>
        <p:spPr>
          <a:xfrm>
            <a:off x="377558" y="871925"/>
            <a:ext cx="4042042" cy="460895"/>
          </a:xfrm>
          <a:prstGeom prst="rect">
            <a:avLst/>
          </a:prstGeom>
          <a:noFill/>
          <a:ln w="9525">
            <a:noFill/>
            <a:prstDash val="solid"/>
          </a:ln>
          <a:extLst>
            <a:ext uri="{91240B29-F687-4F45-9708-019B960494DF}">
              <a14:hiddenLine xmlns:a14="http://schemas.microsoft.com/office/drawing/2010/main" w="9525">
                <a:solidFill>
                  <a:srgbClr val="FFFFFF"/>
                </a:solidFill>
                <a:prstDash val="solid"/>
              </a14:hiddenLine>
            </a:ext>
          </a:extLst>
        </p:spPr>
        <p:txBody>
          <a:bodyPr wrap="square" lIns="0" rIns="0">
            <a:spAutoFit/>
          </a:bodyPr>
          <a:lstStyle/>
          <a:p>
            <a:pPr>
              <a:lnSpc>
                <a:spcPts val="1500"/>
              </a:lnSpc>
            </a:pPr>
            <a:r>
              <a:rPr lang="en-AU" sz="1100" dirty="0">
                <a:solidFill>
                  <a:schemeClr val="bg1">
                    <a:lumMod val="100000"/>
                  </a:schemeClr>
                </a:solidFill>
                <a:effectLst/>
                <a:ea typeface="Segoe UI" panose="020B0502040204020203" pitchFamily="34" charset="0"/>
                <a:cs typeface="Times New Roman" panose="02020603050405020304" pitchFamily="18" charset="0"/>
              </a:rPr>
              <a:t>The evaluation has identified 10 recommendations for the NIAA to support the ongoing improvement of the hubs program. </a:t>
            </a:r>
            <a:endParaRPr lang="en-AU" sz="1100" dirty="0">
              <a:solidFill>
                <a:schemeClr val="bg1">
                  <a:lumMod val="100000"/>
                </a:schemeClr>
              </a:solidFill>
            </a:endParaRPr>
          </a:p>
        </p:txBody>
      </p:sp>
      <p:sp>
        <p:nvSpPr>
          <p:cNvPr id="16" name="TextBox 15">
            <a:extLst>
              <a:ext uri="{FF2B5EF4-FFF2-40B4-BE49-F238E27FC236}">
                <a16:creationId xmlns:a16="http://schemas.microsoft.com/office/drawing/2014/main" id="{ED345136-B13A-1901-92BA-591A5DF85C89}"/>
              </a:ext>
            </a:extLst>
          </p:cNvPr>
          <p:cNvSpPr txBox="1"/>
          <p:nvPr/>
        </p:nvSpPr>
        <p:spPr>
          <a:xfrm>
            <a:off x="969392" y="1850795"/>
            <a:ext cx="4101480" cy="623248"/>
          </a:xfrm>
          <a:prstGeom prst="rect">
            <a:avLst/>
          </a:prstGeom>
          <a:noFill/>
          <a:ln w="9525">
            <a:noFill/>
            <a:prstDash val="solid"/>
          </a:ln>
          <a:extLst>
            <a:ext uri="{91240B29-F687-4F45-9708-019B960494DF}">
              <a14:hiddenLine xmlns:a14="http://schemas.microsoft.com/office/drawing/2010/main" w="9525">
                <a:solidFill>
                  <a:srgbClr val="FFFFFF"/>
                </a:solidFill>
                <a:prstDash val="solid"/>
              </a14:hiddenLine>
            </a:ext>
          </a:extLst>
        </p:spPr>
        <p:txBody>
          <a:bodyPr wrap="square" lIns="0" rIns="0">
            <a:spAutoFit/>
          </a:bodyPr>
          <a:lstStyle/>
          <a:p>
            <a:pPr>
              <a:lnSpc>
                <a:spcPts val="1500"/>
              </a:lnSpc>
              <a:spcAft>
                <a:spcPts val="1200"/>
              </a:spcAft>
            </a:pPr>
            <a:r>
              <a:rPr lang="en-AU" sz="1400" b="1" dirty="0">
                <a:solidFill>
                  <a:schemeClr val="accent3">
                    <a:lumMod val="100000"/>
                  </a:schemeClr>
                </a:solidFill>
                <a:latin typeface="Segoe Print" panose="02000600000000000000" pitchFamily="2" charset="0"/>
              </a:rPr>
              <a:t>Program continuation</a:t>
            </a:r>
          </a:p>
          <a:p>
            <a:pPr>
              <a:lnSpc>
                <a:spcPts val="1500"/>
              </a:lnSpc>
            </a:pPr>
            <a:endParaRPr lang="en-AU" sz="1050" b="1" dirty="0">
              <a:solidFill>
                <a:schemeClr val="bg1">
                  <a:lumMod val="100000"/>
                </a:schemeClr>
              </a:solidFill>
              <a:latin typeface="Segoe Print" panose="02000600000000000000" pitchFamily="2" charset="0"/>
            </a:endParaRPr>
          </a:p>
        </p:txBody>
      </p:sp>
      <p:sp>
        <p:nvSpPr>
          <p:cNvPr id="17" name="Rectangle 16">
            <a:extLst>
              <a:ext uri="{FF2B5EF4-FFF2-40B4-BE49-F238E27FC236}">
                <a16:creationId xmlns:a16="http://schemas.microsoft.com/office/drawing/2014/main" id="{E91AFF32-591F-9D8E-9252-1693FCB9A2A4}"/>
              </a:ext>
            </a:extLst>
          </p:cNvPr>
          <p:cNvSpPr/>
          <p:nvPr/>
        </p:nvSpPr>
        <p:spPr>
          <a:xfrm>
            <a:off x="969392" y="2216224"/>
            <a:ext cx="204124" cy="23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1</a:t>
            </a:r>
          </a:p>
        </p:txBody>
      </p:sp>
      <p:sp>
        <p:nvSpPr>
          <p:cNvPr id="55" name="TextBox 54">
            <a:extLst>
              <a:ext uri="{FF2B5EF4-FFF2-40B4-BE49-F238E27FC236}">
                <a16:creationId xmlns:a16="http://schemas.microsoft.com/office/drawing/2014/main" id="{6A80A221-7EE3-2409-558C-1A32B83F6AB9}"/>
              </a:ext>
            </a:extLst>
          </p:cNvPr>
          <p:cNvSpPr txBox="1"/>
          <p:nvPr/>
        </p:nvSpPr>
        <p:spPr>
          <a:xfrm>
            <a:off x="969391" y="2165263"/>
            <a:ext cx="4101480" cy="661720"/>
          </a:xfrm>
          <a:prstGeom prst="rect">
            <a:avLst/>
          </a:prstGeom>
          <a:noFill/>
          <a:ln w="9525">
            <a:noFill/>
            <a:prstDash val="solid"/>
          </a:ln>
          <a:extLst>
            <a:ext uri="{91240B29-F687-4F45-9708-019B960494DF}">
              <a14:hiddenLine xmlns:a14="http://schemas.microsoft.com/office/drawing/2010/main" w="9525">
                <a:solidFill>
                  <a:srgbClr val="FFFFFF"/>
                </a:solidFill>
                <a:prstDash val="solid"/>
              </a14:hiddenLine>
            </a:ext>
          </a:extLst>
        </p:spPr>
        <p:txBody>
          <a:bodyPr wrap="square" lIns="0" rIns="0">
            <a:spAutoFit/>
          </a:bodyPr>
          <a:lstStyle/>
          <a:p>
            <a:pPr marL="288000">
              <a:lnSpc>
                <a:spcPts val="1500"/>
              </a:lnSpc>
            </a:pPr>
            <a:r>
              <a:rPr lang="en-AU" sz="1100" dirty="0">
                <a:solidFill>
                  <a:schemeClr val="bg1"/>
                </a:solidFill>
                <a:effectLst/>
                <a:ea typeface="Times New Roman" panose="02020603050405020304" pitchFamily="18" charset="0"/>
                <a:cs typeface="Times New Roman" panose="02020603050405020304" pitchFamily="18" charset="0"/>
              </a:rPr>
              <a:t>Continue to fund the hubs program while exploring options </a:t>
            </a:r>
            <a:r>
              <a:rPr lang="en-AU" sz="1100" dirty="0">
                <a:solidFill>
                  <a:schemeClr val="bg1"/>
                </a:solidFill>
                <a:ea typeface="Times New Roman" panose="02020603050405020304" pitchFamily="18" charset="0"/>
                <a:cs typeface="Times New Roman" panose="02020603050405020304" pitchFamily="18" charset="0"/>
              </a:rPr>
              <a:t>to increase the program’s</a:t>
            </a:r>
            <a:r>
              <a:rPr lang="en-AU" sz="1100" dirty="0">
                <a:solidFill>
                  <a:schemeClr val="bg1"/>
                </a:solidFill>
                <a:effectLst/>
                <a:ea typeface="Times New Roman" panose="02020603050405020304" pitchFamily="18" charset="0"/>
                <a:cs typeface="Times New Roman" panose="02020603050405020304" pitchFamily="18" charset="0"/>
              </a:rPr>
              <a:t> financial sustainability </a:t>
            </a:r>
          </a:p>
          <a:p>
            <a:pPr>
              <a:lnSpc>
                <a:spcPts val="1500"/>
              </a:lnSpc>
            </a:pPr>
            <a:endParaRPr lang="en-AU" sz="1050" b="1" dirty="0">
              <a:solidFill>
                <a:schemeClr val="bg1">
                  <a:lumMod val="100000"/>
                </a:schemeClr>
              </a:solidFill>
              <a:latin typeface="Segoe Print" panose="02000600000000000000" pitchFamily="2" charset="0"/>
            </a:endParaRPr>
          </a:p>
        </p:txBody>
      </p:sp>
      <p:sp>
        <p:nvSpPr>
          <p:cNvPr id="18" name="TextBox 17">
            <a:extLst>
              <a:ext uri="{FF2B5EF4-FFF2-40B4-BE49-F238E27FC236}">
                <a16:creationId xmlns:a16="http://schemas.microsoft.com/office/drawing/2014/main" id="{0B173D38-82DF-E3BD-C7B9-0891973A698E}"/>
              </a:ext>
            </a:extLst>
          </p:cNvPr>
          <p:cNvSpPr txBox="1"/>
          <p:nvPr/>
        </p:nvSpPr>
        <p:spPr>
          <a:xfrm>
            <a:off x="969391" y="2968670"/>
            <a:ext cx="4317846" cy="290464"/>
          </a:xfrm>
          <a:prstGeom prst="rect">
            <a:avLst/>
          </a:prstGeom>
          <a:noFill/>
        </p:spPr>
        <p:txBody>
          <a:bodyPr wrap="square" lIns="0" rIns="0">
            <a:spAutoFit/>
          </a:bodyPr>
          <a:lstStyle/>
          <a:p>
            <a:pPr>
              <a:lnSpc>
                <a:spcPts val="1500"/>
              </a:lnSpc>
              <a:spcAft>
                <a:spcPts val="1200"/>
              </a:spcAft>
            </a:pPr>
            <a:r>
              <a:rPr lang="en-AU" sz="1400" b="1" dirty="0">
                <a:solidFill>
                  <a:schemeClr val="accent3">
                    <a:lumMod val="100000"/>
                  </a:schemeClr>
                </a:solidFill>
                <a:latin typeface="Segoe Print" panose="02000600000000000000" pitchFamily="2" charset="0"/>
              </a:rPr>
              <a:t>Service delivery</a:t>
            </a:r>
          </a:p>
        </p:txBody>
      </p:sp>
      <p:sp>
        <p:nvSpPr>
          <p:cNvPr id="19" name="Rectangle 18">
            <a:extLst>
              <a:ext uri="{FF2B5EF4-FFF2-40B4-BE49-F238E27FC236}">
                <a16:creationId xmlns:a16="http://schemas.microsoft.com/office/drawing/2014/main" id="{B0935F75-9304-5917-B342-A49F3F4E9BBC}"/>
              </a:ext>
            </a:extLst>
          </p:cNvPr>
          <p:cNvSpPr/>
          <p:nvPr/>
        </p:nvSpPr>
        <p:spPr>
          <a:xfrm>
            <a:off x="969392" y="3384901"/>
            <a:ext cx="204124" cy="23948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2</a:t>
            </a:r>
          </a:p>
        </p:txBody>
      </p:sp>
      <p:sp>
        <p:nvSpPr>
          <p:cNvPr id="57" name="TextBox 56">
            <a:extLst>
              <a:ext uri="{FF2B5EF4-FFF2-40B4-BE49-F238E27FC236}">
                <a16:creationId xmlns:a16="http://schemas.microsoft.com/office/drawing/2014/main" id="{53641216-E0CC-368D-1094-5FBDCDE8FB36}"/>
              </a:ext>
            </a:extLst>
          </p:cNvPr>
          <p:cNvSpPr txBox="1"/>
          <p:nvPr/>
        </p:nvSpPr>
        <p:spPr>
          <a:xfrm>
            <a:off x="969391" y="3244993"/>
            <a:ext cx="4317846" cy="460895"/>
          </a:xfrm>
          <a:prstGeom prst="rect">
            <a:avLst/>
          </a:prstGeom>
          <a:noFill/>
        </p:spPr>
        <p:txBody>
          <a:bodyPr wrap="square" lIns="0" rIns="0">
            <a:spAutoFit/>
          </a:bodyPr>
          <a:lstStyle/>
          <a:p>
            <a:pPr marL="288000">
              <a:lnSpc>
                <a:spcPts val="1500"/>
              </a:lnSpc>
              <a:spcAft>
                <a:spcPts val="1200"/>
              </a:spcAft>
            </a:pPr>
            <a:r>
              <a:rPr lang="en-AU" sz="1100" dirty="0">
                <a:solidFill>
                  <a:schemeClr val="bg1">
                    <a:lumMod val="100000"/>
                  </a:schemeClr>
                </a:solidFill>
                <a:cs typeface="Times New Roman" panose="02020603050405020304" pitchFamily="18" charset="0"/>
              </a:rPr>
              <a:t>Strengthen the capability and increase the capacity of business support staff at hubs</a:t>
            </a:r>
          </a:p>
        </p:txBody>
      </p:sp>
      <p:sp>
        <p:nvSpPr>
          <p:cNvPr id="20" name="Rectangle 19">
            <a:extLst>
              <a:ext uri="{FF2B5EF4-FFF2-40B4-BE49-F238E27FC236}">
                <a16:creationId xmlns:a16="http://schemas.microsoft.com/office/drawing/2014/main" id="{95FD9A2F-52AC-F737-79AD-811CA753C9E4}"/>
              </a:ext>
            </a:extLst>
          </p:cNvPr>
          <p:cNvSpPr/>
          <p:nvPr/>
        </p:nvSpPr>
        <p:spPr>
          <a:xfrm>
            <a:off x="969392" y="3885731"/>
            <a:ext cx="204124" cy="23948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3</a:t>
            </a:r>
          </a:p>
        </p:txBody>
      </p:sp>
      <p:sp>
        <p:nvSpPr>
          <p:cNvPr id="59" name="TextBox 58">
            <a:extLst>
              <a:ext uri="{FF2B5EF4-FFF2-40B4-BE49-F238E27FC236}">
                <a16:creationId xmlns:a16="http://schemas.microsoft.com/office/drawing/2014/main" id="{550ABDD4-68E8-6129-7F07-4415EC56C632}"/>
              </a:ext>
            </a:extLst>
          </p:cNvPr>
          <p:cNvSpPr txBox="1"/>
          <p:nvPr/>
        </p:nvSpPr>
        <p:spPr>
          <a:xfrm>
            <a:off x="969391" y="3772464"/>
            <a:ext cx="4317846" cy="460895"/>
          </a:xfrm>
          <a:prstGeom prst="rect">
            <a:avLst/>
          </a:prstGeom>
          <a:noFill/>
        </p:spPr>
        <p:txBody>
          <a:bodyPr wrap="square" lIns="0" rIns="0">
            <a:spAutoFit/>
          </a:bodyPr>
          <a:lstStyle/>
          <a:p>
            <a:pPr marL="288000">
              <a:lnSpc>
                <a:spcPts val="1500"/>
              </a:lnSpc>
              <a:spcAft>
                <a:spcPts val="1200"/>
              </a:spcAft>
            </a:pPr>
            <a:r>
              <a:rPr lang="en-AU" sz="1100" dirty="0">
                <a:solidFill>
                  <a:schemeClr val="bg1">
                    <a:lumMod val="100000"/>
                  </a:schemeClr>
                </a:solidFill>
                <a:cs typeface="Times New Roman" panose="02020603050405020304" pitchFamily="18" charset="0"/>
              </a:rPr>
              <a:t>Ensure the hubs develop capabilities and resources to better support more mature businesses</a:t>
            </a:r>
          </a:p>
        </p:txBody>
      </p:sp>
      <p:sp>
        <p:nvSpPr>
          <p:cNvPr id="21" name="Rectangle 20">
            <a:extLst>
              <a:ext uri="{FF2B5EF4-FFF2-40B4-BE49-F238E27FC236}">
                <a16:creationId xmlns:a16="http://schemas.microsoft.com/office/drawing/2014/main" id="{D5BBC651-F94D-E1C9-A584-B9CC18525B93}"/>
              </a:ext>
            </a:extLst>
          </p:cNvPr>
          <p:cNvSpPr/>
          <p:nvPr/>
        </p:nvSpPr>
        <p:spPr>
          <a:xfrm>
            <a:off x="969392" y="4416331"/>
            <a:ext cx="204124" cy="23948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4</a:t>
            </a:r>
          </a:p>
        </p:txBody>
      </p:sp>
      <p:sp>
        <p:nvSpPr>
          <p:cNvPr id="58" name="TextBox 57">
            <a:extLst>
              <a:ext uri="{FF2B5EF4-FFF2-40B4-BE49-F238E27FC236}">
                <a16:creationId xmlns:a16="http://schemas.microsoft.com/office/drawing/2014/main" id="{39BE3F03-D296-3F4D-A923-9E344F4C83DC}"/>
              </a:ext>
            </a:extLst>
          </p:cNvPr>
          <p:cNvSpPr txBox="1"/>
          <p:nvPr/>
        </p:nvSpPr>
        <p:spPr>
          <a:xfrm>
            <a:off x="969391" y="4261972"/>
            <a:ext cx="4317846" cy="460895"/>
          </a:xfrm>
          <a:prstGeom prst="rect">
            <a:avLst/>
          </a:prstGeom>
          <a:noFill/>
        </p:spPr>
        <p:txBody>
          <a:bodyPr wrap="square" lIns="0" rIns="0">
            <a:spAutoFit/>
          </a:bodyPr>
          <a:lstStyle/>
          <a:p>
            <a:pPr marL="288000">
              <a:lnSpc>
                <a:spcPts val="1500"/>
              </a:lnSpc>
              <a:spcAft>
                <a:spcPts val="1200"/>
              </a:spcAft>
            </a:pPr>
            <a:r>
              <a:rPr lang="en-AU" sz="1100" dirty="0">
                <a:solidFill>
                  <a:schemeClr val="bg1">
                    <a:lumMod val="100000"/>
                  </a:schemeClr>
                </a:solidFill>
                <a:cs typeface="Times New Roman" panose="02020603050405020304" pitchFamily="18" charset="0"/>
              </a:rPr>
              <a:t>Increase education for hub </a:t>
            </a:r>
            <a:r>
              <a:rPr lang="en-AU" sz="1100" dirty="0">
                <a:solidFill>
                  <a:schemeClr val="bg1"/>
                </a:solidFill>
                <a:cs typeface="Times New Roman" panose="02020603050405020304" pitchFamily="18" charset="0"/>
              </a:rPr>
              <a:t>clients and government partners about opportunities, including Indigenous procurement policies </a:t>
            </a:r>
          </a:p>
        </p:txBody>
      </p:sp>
      <p:sp>
        <p:nvSpPr>
          <p:cNvPr id="22" name="Rectangle 21">
            <a:extLst>
              <a:ext uri="{FF2B5EF4-FFF2-40B4-BE49-F238E27FC236}">
                <a16:creationId xmlns:a16="http://schemas.microsoft.com/office/drawing/2014/main" id="{38F3FB04-9560-AE88-49A4-FDEFE6A48FFC}"/>
              </a:ext>
            </a:extLst>
          </p:cNvPr>
          <p:cNvSpPr/>
          <p:nvPr/>
        </p:nvSpPr>
        <p:spPr>
          <a:xfrm>
            <a:off x="969392" y="4926503"/>
            <a:ext cx="204124" cy="23948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5</a:t>
            </a:r>
          </a:p>
        </p:txBody>
      </p:sp>
      <p:sp>
        <p:nvSpPr>
          <p:cNvPr id="56" name="TextBox 55">
            <a:extLst>
              <a:ext uri="{FF2B5EF4-FFF2-40B4-BE49-F238E27FC236}">
                <a16:creationId xmlns:a16="http://schemas.microsoft.com/office/drawing/2014/main" id="{BE016116-D27A-4486-ECB1-B83F8795F84B}"/>
              </a:ext>
            </a:extLst>
          </p:cNvPr>
          <p:cNvSpPr txBox="1"/>
          <p:nvPr/>
        </p:nvSpPr>
        <p:spPr>
          <a:xfrm>
            <a:off x="969391" y="4802264"/>
            <a:ext cx="4317846" cy="460895"/>
          </a:xfrm>
          <a:prstGeom prst="rect">
            <a:avLst/>
          </a:prstGeom>
          <a:noFill/>
        </p:spPr>
        <p:txBody>
          <a:bodyPr wrap="square" lIns="0" rIns="0">
            <a:spAutoFit/>
          </a:bodyPr>
          <a:lstStyle/>
          <a:p>
            <a:pPr marL="288000">
              <a:lnSpc>
                <a:spcPts val="1500"/>
              </a:lnSpc>
              <a:spcAft>
                <a:spcPts val="300"/>
              </a:spcAft>
            </a:pPr>
            <a:r>
              <a:rPr lang="en-AU" sz="1100" dirty="0">
                <a:solidFill>
                  <a:schemeClr val="bg1">
                    <a:lumMod val="100000"/>
                  </a:schemeClr>
                </a:solidFill>
                <a:cs typeface="Times New Roman" panose="02020603050405020304" pitchFamily="18" charset="0"/>
              </a:rPr>
              <a:t>Explore opportunities to increase in-person support in regional areas</a:t>
            </a:r>
          </a:p>
        </p:txBody>
      </p:sp>
      <p:sp>
        <p:nvSpPr>
          <p:cNvPr id="23" name="TextBox 22">
            <a:extLst>
              <a:ext uri="{FF2B5EF4-FFF2-40B4-BE49-F238E27FC236}">
                <a16:creationId xmlns:a16="http://schemas.microsoft.com/office/drawing/2014/main" id="{A9783E33-1BF8-070F-EC0D-9CFA3E374ADF}"/>
              </a:ext>
            </a:extLst>
          </p:cNvPr>
          <p:cNvSpPr txBox="1"/>
          <p:nvPr/>
        </p:nvSpPr>
        <p:spPr>
          <a:xfrm>
            <a:off x="969391" y="5668348"/>
            <a:ext cx="4328794" cy="623248"/>
          </a:xfrm>
          <a:prstGeom prst="rect">
            <a:avLst/>
          </a:prstGeom>
          <a:noFill/>
        </p:spPr>
        <p:txBody>
          <a:bodyPr wrap="square" lIns="0" rIns="0">
            <a:spAutoFit/>
          </a:bodyPr>
          <a:lstStyle/>
          <a:p>
            <a:pPr>
              <a:lnSpc>
                <a:spcPts val="1500"/>
              </a:lnSpc>
              <a:spcAft>
                <a:spcPts val="1200"/>
              </a:spcAft>
            </a:pPr>
            <a:r>
              <a:rPr lang="en-AU" sz="1400" b="1" dirty="0">
                <a:solidFill>
                  <a:schemeClr val="accent3">
                    <a:lumMod val="100000"/>
                  </a:schemeClr>
                </a:solidFill>
                <a:latin typeface="Segoe Print" panose="02000600000000000000" pitchFamily="2" charset="0"/>
              </a:rPr>
              <a:t>Monitoring and Reporting</a:t>
            </a:r>
          </a:p>
          <a:p>
            <a:pPr>
              <a:lnSpc>
                <a:spcPts val="1500"/>
              </a:lnSpc>
            </a:pPr>
            <a:endParaRPr lang="en-AU" sz="1050" b="1" dirty="0">
              <a:solidFill>
                <a:schemeClr val="bg1">
                  <a:lumMod val="100000"/>
                </a:schemeClr>
              </a:solidFill>
              <a:latin typeface="Segoe Print" panose="02000600000000000000" pitchFamily="2" charset="0"/>
            </a:endParaRPr>
          </a:p>
        </p:txBody>
      </p:sp>
      <p:sp>
        <p:nvSpPr>
          <p:cNvPr id="24" name="Rectangle 23">
            <a:extLst>
              <a:ext uri="{FF2B5EF4-FFF2-40B4-BE49-F238E27FC236}">
                <a16:creationId xmlns:a16="http://schemas.microsoft.com/office/drawing/2014/main" id="{D9A7ED8D-F0B8-6DF3-E1CF-68E375CF93CA}"/>
              </a:ext>
            </a:extLst>
          </p:cNvPr>
          <p:cNvSpPr/>
          <p:nvPr/>
        </p:nvSpPr>
        <p:spPr>
          <a:xfrm>
            <a:off x="969392" y="6042244"/>
            <a:ext cx="204124" cy="23948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6</a:t>
            </a:r>
          </a:p>
        </p:txBody>
      </p:sp>
      <p:sp>
        <p:nvSpPr>
          <p:cNvPr id="62" name="TextBox 61">
            <a:extLst>
              <a:ext uri="{FF2B5EF4-FFF2-40B4-BE49-F238E27FC236}">
                <a16:creationId xmlns:a16="http://schemas.microsoft.com/office/drawing/2014/main" id="{A08656A1-808F-90F3-5D5F-88E98C549854}"/>
              </a:ext>
            </a:extLst>
          </p:cNvPr>
          <p:cNvSpPr txBox="1"/>
          <p:nvPr/>
        </p:nvSpPr>
        <p:spPr>
          <a:xfrm>
            <a:off x="969391" y="6022190"/>
            <a:ext cx="4328794" cy="623248"/>
          </a:xfrm>
          <a:prstGeom prst="rect">
            <a:avLst/>
          </a:prstGeom>
          <a:noFill/>
        </p:spPr>
        <p:txBody>
          <a:bodyPr wrap="square" lIns="0" rIns="0">
            <a:spAutoFit/>
          </a:bodyPr>
          <a:lstStyle/>
          <a:p>
            <a:pPr marL="288000">
              <a:lnSpc>
                <a:spcPts val="1500"/>
              </a:lnSpc>
              <a:spcAft>
                <a:spcPts val="1200"/>
              </a:spcAft>
            </a:pPr>
            <a:r>
              <a:rPr lang="en-AU" sz="1100" dirty="0">
                <a:solidFill>
                  <a:schemeClr val="bg1">
                    <a:lumMod val="100000"/>
                  </a:schemeClr>
                </a:solidFill>
                <a:cs typeface="Times New Roman" panose="02020603050405020304" pitchFamily="18" charset="0"/>
              </a:rPr>
              <a:t>Enhance and streamline the hubs’ key performance indicators</a:t>
            </a:r>
          </a:p>
          <a:p>
            <a:pPr>
              <a:lnSpc>
                <a:spcPts val="1500"/>
              </a:lnSpc>
            </a:pPr>
            <a:endParaRPr lang="en-AU" sz="1050" b="1" dirty="0">
              <a:solidFill>
                <a:schemeClr val="bg1">
                  <a:lumMod val="100000"/>
                </a:schemeClr>
              </a:solidFill>
              <a:latin typeface="Segoe Print" panose="02000600000000000000" pitchFamily="2" charset="0"/>
            </a:endParaRPr>
          </a:p>
        </p:txBody>
      </p:sp>
      <p:sp>
        <p:nvSpPr>
          <p:cNvPr id="25" name="Rectangle 24">
            <a:extLst>
              <a:ext uri="{FF2B5EF4-FFF2-40B4-BE49-F238E27FC236}">
                <a16:creationId xmlns:a16="http://schemas.microsoft.com/office/drawing/2014/main" id="{255A3CBC-0790-A60A-57C2-033705ED8851}"/>
              </a:ext>
            </a:extLst>
          </p:cNvPr>
          <p:cNvSpPr/>
          <p:nvPr/>
        </p:nvSpPr>
        <p:spPr>
          <a:xfrm>
            <a:off x="969392" y="6384111"/>
            <a:ext cx="517508" cy="23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6.1</a:t>
            </a:r>
          </a:p>
        </p:txBody>
      </p:sp>
      <p:sp>
        <p:nvSpPr>
          <p:cNvPr id="61" name="TextBox 60">
            <a:extLst>
              <a:ext uri="{FF2B5EF4-FFF2-40B4-BE49-F238E27FC236}">
                <a16:creationId xmlns:a16="http://schemas.microsoft.com/office/drawing/2014/main" id="{8EC0514D-C5AF-3BAD-168E-8898FF77E117}"/>
              </a:ext>
            </a:extLst>
          </p:cNvPr>
          <p:cNvSpPr txBox="1"/>
          <p:nvPr/>
        </p:nvSpPr>
        <p:spPr>
          <a:xfrm>
            <a:off x="1071454" y="6352216"/>
            <a:ext cx="4328794" cy="623248"/>
          </a:xfrm>
          <a:prstGeom prst="rect">
            <a:avLst/>
          </a:prstGeom>
          <a:noFill/>
        </p:spPr>
        <p:txBody>
          <a:bodyPr wrap="square" lIns="0" rIns="0">
            <a:spAutoFit/>
          </a:bodyPr>
          <a:lstStyle/>
          <a:p>
            <a:pPr marL="432000">
              <a:lnSpc>
                <a:spcPts val="1500"/>
              </a:lnSpc>
              <a:spcAft>
                <a:spcPts val="1200"/>
              </a:spcAft>
            </a:pPr>
            <a:r>
              <a:rPr lang="en-AU" sz="1100" dirty="0">
                <a:solidFill>
                  <a:schemeClr val="bg1">
                    <a:lumMod val="100000"/>
                  </a:schemeClr>
                </a:solidFill>
                <a:cs typeface="Times New Roman" panose="02020603050405020304" pitchFamily="18" charset="0"/>
              </a:rPr>
              <a:t>Develop outcome indicators to better measure impact </a:t>
            </a:r>
          </a:p>
          <a:p>
            <a:pPr>
              <a:lnSpc>
                <a:spcPts val="1500"/>
              </a:lnSpc>
            </a:pPr>
            <a:endParaRPr lang="en-AU" sz="1050" b="1" dirty="0">
              <a:solidFill>
                <a:schemeClr val="bg1">
                  <a:lumMod val="100000"/>
                </a:schemeClr>
              </a:solidFill>
              <a:latin typeface="Segoe Print" panose="02000600000000000000" pitchFamily="2" charset="0"/>
            </a:endParaRPr>
          </a:p>
        </p:txBody>
      </p:sp>
      <p:sp>
        <p:nvSpPr>
          <p:cNvPr id="26" name="Rectangle 25">
            <a:extLst>
              <a:ext uri="{FF2B5EF4-FFF2-40B4-BE49-F238E27FC236}">
                <a16:creationId xmlns:a16="http://schemas.microsoft.com/office/drawing/2014/main" id="{D4ADD4BF-6ACF-A379-BF39-2679DA2D45DA}"/>
              </a:ext>
            </a:extLst>
          </p:cNvPr>
          <p:cNvSpPr/>
          <p:nvPr/>
        </p:nvSpPr>
        <p:spPr>
          <a:xfrm>
            <a:off x="969392" y="6737145"/>
            <a:ext cx="517508" cy="217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6.2</a:t>
            </a:r>
          </a:p>
        </p:txBody>
      </p:sp>
      <p:sp>
        <p:nvSpPr>
          <p:cNvPr id="60" name="TextBox 59">
            <a:extLst>
              <a:ext uri="{FF2B5EF4-FFF2-40B4-BE49-F238E27FC236}">
                <a16:creationId xmlns:a16="http://schemas.microsoft.com/office/drawing/2014/main" id="{7AAC84C7-447F-B04A-8870-CF0CBE5CA580}"/>
              </a:ext>
            </a:extLst>
          </p:cNvPr>
          <p:cNvSpPr txBox="1"/>
          <p:nvPr/>
        </p:nvSpPr>
        <p:spPr>
          <a:xfrm>
            <a:off x="1063233" y="6707710"/>
            <a:ext cx="4328794" cy="623248"/>
          </a:xfrm>
          <a:prstGeom prst="rect">
            <a:avLst/>
          </a:prstGeom>
          <a:noFill/>
        </p:spPr>
        <p:txBody>
          <a:bodyPr wrap="square" lIns="0" rIns="0">
            <a:spAutoFit/>
          </a:bodyPr>
          <a:lstStyle/>
          <a:p>
            <a:pPr marL="432000">
              <a:lnSpc>
                <a:spcPts val="1500"/>
              </a:lnSpc>
              <a:spcAft>
                <a:spcPts val="1200"/>
              </a:spcAft>
            </a:pPr>
            <a:r>
              <a:rPr lang="en-AU" sz="1100" dirty="0">
                <a:solidFill>
                  <a:schemeClr val="bg1">
                    <a:lumMod val="100000"/>
                  </a:schemeClr>
                </a:solidFill>
                <a:cs typeface="Times New Roman" panose="02020603050405020304" pitchFamily="18" charset="0"/>
              </a:rPr>
              <a:t>Streamline hub staff’s reporting requirements  </a:t>
            </a:r>
          </a:p>
          <a:p>
            <a:pPr>
              <a:lnSpc>
                <a:spcPts val="1500"/>
              </a:lnSpc>
            </a:pPr>
            <a:endParaRPr lang="en-AU" sz="1050" b="1" dirty="0">
              <a:solidFill>
                <a:schemeClr val="bg1">
                  <a:lumMod val="100000"/>
                </a:schemeClr>
              </a:solidFill>
              <a:latin typeface="Segoe Print" panose="02000600000000000000" pitchFamily="2" charset="0"/>
            </a:endParaRPr>
          </a:p>
        </p:txBody>
      </p:sp>
      <p:sp>
        <p:nvSpPr>
          <p:cNvPr id="27" name="TextBox 26">
            <a:extLst>
              <a:ext uri="{FF2B5EF4-FFF2-40B4-BE49-F238E27FC236}">
                <a16:creationId xmlns:a16="http://schemas.microsoft.com/office/drawing/2014/main" id="{C092ABEA-C90B-6B3C-623F-C4EE96E137AE}"/>
              </a:ext>
            </a:extLst>
          </p:cNvPr>
          <p:cNvSpPr txBox="1"/>
          <p:nvPr/>
        </p:nvSpPr>
        <p:spPr>
          <a:xfrm>
            <a:off x="6178788" y="1850795"/>
            <a:ext cx="4137068" cy="290464"/>
          </a:xfrm>
          <a:prstGeom prst="rect">
            <a:avLst/>
          </a:prstGeom>
          <a:noFill/>
        </p:spPr>
        <p:txBody>
          <a:bodyPr wrap="square" lIns="0" rIns="0">
            <a:spAutoFit/>
          </a:bodyPr>
          <a:lstStyle/>
          <a:p>
            <a:pPr>
              <a:lnSpc>
                <a:spcPts val="1500"/>
              </a:lnSpc>
              <a:spcAft>
                <a:spcPts val="1200"/>
              </a:spcAft>
            </a:pPr>
            <a:r>
              <a:rPr lang="en-AU" sz="1400" b="1" dirty="0">
                <a:solidFill>
                  <a:schemeClr val="accent3">
                    <a:lumMod val="100000"/>
                  </a:schemeClr>
                </a:solidFill>
                <a:latin typeface="Segoe Print" panose="02000600000000000000" pitchFamily="2" charset="0"/>
              </a:rPr>
              <a:t>Governance and sustainability</a:t>
            </a:r>
          </a:p>
        </p:txBody>
      </p:sp>
      <p:sp>
        <p:nvSpPr>
          <p:cNvPr id="28" name="Rectangle 27">
            <a:extLst>
              <a:ext uri="{FF2B5EF4-FFF2-40B4-BE49-F238E27FC236}">
                <a16:creationId xmlns:a16="http://schemas.microsoft.com/office/drawing/2014/main" id="{1D956C32-449E-8530-46C2-094FB090781B}"/>
              </a:ext>
            </a:extLst>
          </p:cNvPr>
          <p:cNvSpPr/>
          <p:nvPr/>
        </p:nvSpPr>
        <p:spPr>
          <a:xfrm>
            <a:off x="6178788" y="2216224"/>
            <a:ext cx="204124" cy="23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7</a:t>
            </a:r>
          </a:p>
        </p:txBody>
      </p:sp>
      <p:sp>
        <p:nvSpPr>
          <p:cNvPr id="64" name="TextBox 63">
            <a:extLst>
              <a:ext uri="{FF2B5EF4-FFF2-40B4-BE49-F238E27FC236}">
                <a16:creationId xmlns:a16="http://schemas.microsoft.com/office/drawing/2014/main" id="{C95A78F1-A0FF-6ADC-D45C-036F41703B37}"/>
              </a:ext>
            </a:extLst>
          </p:cNvPr>
          <p:cNvSpPr txBox="1"/>
          <p:nvPr/>
        </p:nvSpPr>
        <p:spPr>
          <a:xfrm>
            <a:off x="6181368" y="2605809"/>
            <a:ext cx="4137068" cy="460895"/>
          </a:xfrm>
          <a:prstGeom prst="rect">
            <a:avLst/>
          </a:prstGeom>
          <a:noFill/>
        </p:spPr>
        <p:txBody>
          <a:bodyPr wrap="square" lIns="0" rIns="0">
            <a:spAutoFit/>
          </a:bodyPr>
          <a:lstStyle/>
          <a:p>
            <a:pPr marL="288000">
              <a:lnSpc>
                <a:spcPts val="1500"/>
              </a:lnSpc>
              <a:spcAft>
                <a:spcPts val="300"/>
              </a:spcAft>
            </a:pPr>
            <a:r>
              <a:rPr lang="en-AU" sz="1100" dirty="0">
                <a:solidFill>
                  <a:schemeClr val="bg1">
                    <a:lumMod val="100000"/>
                  </a:schemeClr>
                </a:solidFill>
                <a:cs typeface="Times New Roman" panose="02020603050405020304" pitchFamily="18" charset="0"/>
              </a:rPr>
              <a:t>Ensure each hub’s governance model maximises opportunities for First Nations leadership and self-determination</a:t>
            </a:r>
          </a:p>
        </p:txBody>
      </p:sp>
      <p:sp>
        <p:nvSpPr>
          <p:cNvPr id="29" name="Rectangle 28">
            <a:extLst>
              <a:ext uri="{FF2B5EF4-FFF2-40B4-BE49-F238E27FC236}">
                <a16:creationId xmlns:a16="http://schemas.microsoft.com/office/drawing/2014/main" id="{DE27714D-3209-D06F-E8FB-ADB16D5389C0}"/>
              </a:ext>
            </a:extLst>
          </p:cNvPr>
          <p:cNvSpPr/>
          <p:nvPr/>
        </p:nvSpPr>
        <p:spPr>
          <a:xfrm>
            <a:off x="6178788" y="2744673"/>
            <a:ext cx="204124" cy="23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8</a:t>
            </a:r>
          </a:p>
        </p:txBody>
      </p:sp>
      <p:sp>
        <p:nvSpPr>
          <p:cNvPr id="65" name="TextBox 64">
            <a:extLst>
              <a:ext uri="{FF2B5EF4-FFF2-40B4-BE49-F238E27FC236}">
                <a16:creationId xmlns:a16="http://schemas.microsoft.com/office/drawing/2014/main" id="{77EF2B9D-F15C-CD03-0D92-EC2F7444D030}"/>
              </a:ext>
            </a:extLst>
          </p:cNvPr>
          <p:cNvSpPr txBox="1"/>
          <p:nvPr/>
        </p:nvSpPr>
        <p:spPr>
          <a:xfrm>
            <a:off x="6181368" y="2125228"/>
            <a:ext cx="4137068" cy="460895"/>
          </a:xfrm>
          <a:prstGeom prst="rect">
            <a:avLst/>
          </a:prstGeom>
          <a:noFill/>
        </p:spPr>
        <p:txBody>
          <a:bodyPr wrap="square" lIns="0" rIns="0">
            <a:spAutoFit/>
          </a:bodyPr>
          <a:lstStyle/>
          <a:p>
            <a:pPr marL="288000">
              <a:lnSpc>
                <a:spcPts val="1500"/>
              </a:lnSpc>
              <a:spcAft>
                <a:spcPts val="1200"/>
              </a:spcAft>
            </a:pPr>
            <a:r>
              <a:rPr lang="en-AU" sz="1100" dirty="0">
                <a:solidFill>
                  <a:schemeClr val="bg1">
                    <a:lumMod val="100000"/>
                  </a:schemeClr>
                </a:solidFill>
                <a:cs typeface="Times New Roman" panose="02020603050405020304" pitchFamily="18" charset="0"/>
              </a:rPr>
              <a:t>Establish mechanisms for regular collaboration and communication across hubs</a:t>
            </a:r>
          </a:p>
        </p:txBody>
      </p:sp>
      <p:sp>
        <p:nvSpPr>
          <p:cNvPr id="30" name="TextBox 29">
            <a:extLst>
              <a:ext uri="{FF2B5EF4-FFF2-40B4-BE49-F238E27FC236}">
                <a16:creationId xmlns:a16="http://schemas.microsoft.com/office/drawing/2014/main" id="{96658D24-C126-760E-1DAF-15E8F6FD1554}"/>
              </a:ext>
            </a:extLst>
          </p:cNvPr>
          <p:cNvSpPr txBox="1"/>
          <p:nvPr/>
        </p:nvSpPr>
        <p:spPr>
          <a:xfrm>
            <a:off x="6178788" y="3493548"/>
            <a:ext cx="4221212" cy="290464"/>
          </a:xfrm>
          <a:prstGeom prst="rect">
            <a:avLst/>
          </a:prstGeom>
          <a:noFill/>
        </p:spPr>
        <p:txBody>
          <a:bodyPr wrap="square" lIns="0" rIns="0">
            <a:spAutoFit/>
          </a:bodyPr>
          <a:lstStyle/>
          <a:p>
            <a:pPr>
              <a:lnSpc>
                <a:spcPts val="1500"/>
              </a:lnSpc>
              <a:spcAft>
                <a:spcPts val="1200"/>
              </a:spcAft>
            </a:pPr>
            <a:r>
              <a:rPr lang="en-AU" sz="1400" b="1" dirty="0">
                <a:solidFill>
                  <a:schemeClr val="accent3">
                    <a:lumMod val="100000"/>
                  </a:schemeClr>
                </a:solidFill>
                <a:latin typeface="Segoe Print" panose="02000600000000000000" pitchFamily="2" charset="0"/>
              </a:rPr>
              <a:t>Ecosystem Collaboration</a:t>
            </a:r>
          </a:p>
        </p:txBody>
      </p:sp>
      <p:sp>
        <p:nvSpPr>
          <p:cNvPr id="31" name="Rectangle 30">
            <a:extLst>
              <a:ext uri="{FF2B5EF4-FFF2-40B4-BE49-F238E27FC236}">
                <a16:creationId xmlns:a16="http://schemas.microsoft.com/office/drawing/2014/main" id="{1EEE2420-475C-8891-6E0D-0ADA5340C7DE}"/>
              </a:ext>
            </a:extLst>
          </p:cNvPr>
          <p:cNvSpPr/>
          <p:nvPr/>
        </p:nvSpPr>
        <p:spPr>
          <a:xfrm>
            <a:off x="6178788" y="3875911"/>
            <a:ext cx="204124" cy="23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9</a:t>
            </a:r>
          </a:p>
        </p:txBody>
      </p:sp>
      <p:sp>
        <p:nvSpPr>
          <p:cNvPr id="68" name="TextBox 67">
            <a:extLst>
              <a:ext uri="{FF2B5EF4-FFF2-40B4-BE49-F238E27FC236}">
                <a16:creationId xmlns:a16="http://schemas.microsoft.com/office/drawing/2014/main" id="{EED24143-BEC4-F92D-6B48-4E55DFD7E529}"/>
              </a:ext>
            </a:extLst>
          </p:cNvPr>
          <p:cNvSpPr txBox="1"/>
          <p:nvPr/>
        </p:nvSpPr>
        <p:spPr>
          <a:xfrm>
            <a:off x="6153528" y="3812300"/>
            <a:ext cx="4221212" cy="268535"/>
          </a:xfrm>
          <a:prstGeom prst="rect">
            <a:avLst/>
          </a:prstGeom>
          <a:noFill/>
        </p:spPr>
        <p:txBody>
          <a:bodyPr wrap="square" lIns="0" rIns="0">
            <a:spAutoFit/>
          </a:bodyPr>
          <a:lstStyle/>
          <a:p>
            <a:pPr marL="288000">
              <a:lnSpc>
                <a:spcPts val="1500"/>
              </a:lnSpc>
              <a:spcAft>
                <a:spcPts val="1200"/>
              </a:spcAft>
            </a:pPr>
            <a:r>
              <a:rPr lang="en-AU" sz="1100" dirty="0">
                <a:solidFill>
                  <a:schemeClr val="bg1">
                    <a:lumMod val="100000"/>
                  </a:schemeClr>
                </a:solidFill>
                <a:cs typeface="Times New Roman" panose="02020603050405020304" pitchFamily="18" charset="0"/>
              </a:rPr>
              <a:t>Explore </a:t>
            </a:r>
            <a:r>
              <a:rPr lang="en-AU" sz="1100" dirty="0">
                <a:solidFill>
                  <a:schemeClr val="bg1"/>
                </a:solidFill>
                <a:cs typeface="Times New Roman" panose="02020603050405020304" pitchFamily="18" charset="0"/>
              </a:rPr>
              <a:t>opportunities to enhance referrals </a:t>
            </a:r>
            <a:r>
              <a:rPr lang="en-AU" sz="1100" dirty="0">
                <a:solidFill>
                  <a:schemeClr val="bg1">
                    <a:lumMod val="100000"/>
                  </a:schemeClr>
                </a:solidFill>
                <a:cs typeface="Times New Roman" panose="02020603050405020304" pitchFamily="18" charset="0"/>
              </a:rPr>
              <a:t>for hub clients </a:t>
            </a:r>
          </a:p>
        </p:txBody>
      </p:sp>
      <p:sp>
        <p:nvSpPr>
          <p:cNvPr id="32" name="Rectangle 31">
            <a:extLst>
              <a:ext uri="{FF2B5EF4-FFF2-40B4-BE49-F238E27FC236}">
                <a16:creationId xmlns:a16="http://schemas.microsoft.com/office/drawing/2014/main" id="{AAD59641-F3A7-32DE-4EAA-72FD6A3F0B5E}"/>
              </a:ext>
            </a:extLst>
          </p:cNvPr>
          <p:cNvSpPr/>
          <p:nvPr/>
        </p:nvSpPr>
        <p:spPr>
          <a:xfrm>
            <a:off x="6178787" y="4232395"/>
            <a:ext cx="418661" cy="23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9.1</a:t>
            </a:r>
          </a:p>
        </p:txBody>
      </p:sp>
      <p:sp>
        <p:nvSpPr>
          <p:cNvPr id="67" name="TextBox 66">
            <a:extLst>
              <a:ext uri="{FF2B5EF4-FFF2-40B4-BE49-F238E27FC236}">
                <a16:creationId xmlns:a16="http://schemas.microsoft.com/office/drawing/2014/main" id="{B0D95A16-D75B-6435-9A9E-5C79A32A7B7C}"/>
              </a:ext>
            </a:extLst>
          </p:cNvPr>
          <p:cNvSpPr txBox="1"/>
          <p:nvPr/>
        </p:nvSpPr>
        <p:spPr>
          <a:xfrm>
            <a:off x="6170566" y="4113872"/>
            <a:ext cx="4221212" cy="460895"/>
          </a:xfrm>
          <a:prstGeom prst="rect">
            <a:avLst/>
          </a:prstGeom>
          <a:noFill/>
        </p:spPr>
        <p:txBody>
          <a:bodyPr wrap="square" lIns="0" rIns="0">
            <a:spAutoFit/>
          </a:bodyPr>
          <a:lstStyle/>
          <a:p>
            <a:pPr marL="432000">
              <a:lnSpc>
                <a:spcPts val="1500"/>
              </a:lnSpc>
              <a:spcAft>
                <a:spcPts val="1200"/>
              </a:spcAft>
            </a:pPr>
            <a:r>
              <a:rPr lang="en-AU" sz="1100" dirty="0">
                <a:solidFill>
                  <a:schemeClr val="bg1">
                    <a:lumMod val="100000"/>
                  </a:schemeClr>
                </a:solidFill>
                <a:cs typeface="Times New Roman" panose="02020603050405020304" pitchFamily="18" charset="0"/>
              </a:rPr>
              <a:t>Develop an updated, system-wide understanding of business support services for First Nations businesses </a:t>
            </a:r>
          </a:p>
        </p:txBody>
      </p:sp>
      <p:sp>
        <p:nvSpPr>
          <p:cNvPr id="33" name="Rectangle 32">
            <a:extLst>
              <a:ext uri="{FF2B5EF4-FFF2-40B4-BE49-F238E27FC236}">
                <a16:creationId xmlns:a16="http://schemas.microsoft.com/office/drawing/2014/main" id="{26EC1D1A-0E7F-5A6E-66E3-92B1CB231D7F}"/>
              </a:ext>
            </a:extLst>
          </p:cNvPr>
          <p:cNvSpPr/>
          <p:nvPr/>
        </p:nvSpPr>
        <p:spPr>
          <a:xfrm>
            <a:off x="6178787" y="4742347"/>
            <a:ext cx="418661" cy="23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a:solidFill>
                  <a:schemeClr val="accent3">
                    <a:lumMod val="100000"/>
                  </a:schemeClr>
                </a:solidFill>
                <a:latin typeface="Segoe Print" panose="02000600000000000000" pitchFamily="2" charset="0"/>
              </a:rPr>
              <a:t>9.2</a:t>
            </a:r>
          </a:p>
        </p:txBody>
      </p:sp>
      <p:sp>
        <p:nvSpPr>
          <p:cNvPr id="69" name="TextBox 68">
            <a:extLst>
              <a:ext uri="{FF2B5EF4-FFF2-40B4-BE49-F238E27FC236}">
                <a16:creationId xmlns:a16="http://schemas.microsoft.com/office/drawing/2014/main" id="{E13F02D1-D079-A32A-1C5A-AF996F668D98}"/>
              </a:ext>
            </a:extLst>
          </p:cNvPr>
          <p:cNvSpPr txBox="1"/>
          <p:nvPr/>
        </p:nvSpPr>
        <p:spPr>
          <a:xfrm>
            <a:off x="6205903" y="4690690"/>
            <a:ext cx="4221212" cy="268535"/>
          </a:xfrm>
          <a:prstGeom prst="rect">
            <a:avLst/>
          </a:prstGeom>
          <a:noFill/>
        </p:spPr>
        <p:txBody>
          <a:bodyPr wrap="square" lIns="0" rIns="0">
            <a:spAutoFit/>
          </a:bodyPr>
          <a:lstStyle/>
          <a:p>
            <a:pPr marL="432000">
              <a:lnSpc>
                <a:spcPts val="1500"/>
              </a:lnSpc>
              <a:spcAft>
                <a:spcPts val="1200"/>
              </a:spcAft>
            </a:pPr>
            <a:r>
              <a:rPr lang="en-AU" sz="1100" dirty="0">
                <a:solidFill>
                  <a:schemeClr val="bg1"/>
                </a:solidFill>
                <a:cs typeface="Times New Roman" panose="02020603050405020304" pitchFamily="18" charset="0"/>
              </a:rPr>
              <a:t>Increase clients’ access to </a:t>
            </a:r>
            <a:r>
              <a:rPr lang="en-AU" sz="1100" dirty="0">
                <a:solidFill>
                  <a:schemeClr val="bg1">
                    <a:lumMod val="100000"/>
                  </a:schemeClr>
                </a:solidFill>
                <a:cs typeface="Times New Roman" panose="02020603050405020304" pitchFamily="18" charset="0"/>
              </a:rPr>
              <a:t>specialist expertise</a:t>
            </a:r>
          </a:p>
        </p:txBody>
      </p:sp>
      <p:sp>
        <p:nvSpPr>
          <p:cNvPr id="34" name="Rectangle 33">
            <a:extLst>
              <a:ext uri="{FF2B5EF4-FFF2-40B4-BE49-F238E27FC236}">
                <a16:creationId xmlns:a16="http://schemas.microsoft.com/office/drawing/2014/main" id="{208F940F-AE7C-CD88-B269-46E781904F84}"/>
              </a:ext>
            </a:extLst>
          </p:cNvPr>
          <p:cNvSpPr/>
          <p:nvPr/>
        </p:nvSpPr>
        <p:spPr>
          <a:xfrm>
            <a:off x="6134954" y="5102260"/>
            <a:ext cx="333994" cy="223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1205793"/>
            <a:r>
              <a:rPr lang="en-AU" sz="1400" b="1" spc="-100">
                <a:solidFill>
                  <a:schemeClr val="accent3">
                    <a:lumMod val="100000"/>
                  </a:schemeClr>
                </a:solidFill>
                <a:latin typeface="Segoe Print" panose="02000600000000000000" pitchFamily="2" charset="0"/>
              </a:rPr>
              <a:t>10</a:t>
            </a:r>
          </a:p>
        </p:txBody>
      </p:sp>
      <p:sp>
        <p:nvSpPr>
          <p:cNvPr id="66" name="TextBox 65">
            <a:extLst>
              <a:ext uri="{FF2B5EF4-FFF2-40B4-BE49-F238E27FC236}">
                <a16:creationId xmlns:a16="http://schemas.microsoft.com/office/drawing/2014/main" id="{408DAB17-B8FD-1695-F902-A9E43A0BC85E}"/>
              </a:ext>
            </a:extLst>
          </p:cNvPr>
          <p:cNvSpPr txBox="1"/>
          <p:nvPr/>
        </p:nvSpPr>
        <p:spPr>
          <a:xfrm>
            <a:off x="6241722" y="5030250"/>
            <a:ext cx="4221212" cy="460895"/>
          </a:xfrm>
          <a:prstGeom prst="rect">
            <a:avLst/>
          </a:prstGeom>
          <a:noFill/>
        </p:spPr>
        <p:txBody>
          <a:bodyPr wrap="square" lIns="0" rIns="0">
            <a:spAutoFit/>
          </a:bodyPr>
          <a:lstStyle/>
          <a:p>
            <a:pPr marL="288000">
              <a:lnSpc>
                <a:spcPts val="1500"/>
              </a:lnSpc>
              <a:spcAft>
                <a:spcPts val="1200"/>
              </a:spcAft>
            </a:pPr>
            <a:r>
              <a:rPr lang="en-AU" sz="1100" dirty="0">
                <a:solidFill>
                  <a:schemeClr val="bg1">
                    <a:lumMod val="100000"/>
                  </a:schemeClr>
                </a:solidFill>
                <a:cs typeface="Times New Roman" panose="02020603050405020304" pitchFamily="18" charset="0"/>
              </a:rPr>
              <a:t>Strengthen partnerships to increase First Nations businesses’ access to flexible capital</a:t>
            </a:r>
          </a:p>
        </p:txBody>
      </p:sp>
      <p:sp>
        <p:nvSpPr>
          <p:cNvPr id="35" name="TextBox 34">
            <a:extLst>
              <a:ext uri="{FF2B5EF4-FFF2-40B4-BE49-F238E27FC236}">
                <a16:creationId xmlns:a16="http://schemas.microsoft.com/office/drawing/2014/main" id="{3E52C0D9-F91D-FBDE-225F-244B14A8C2BE}"/>
              </a:ext>
            </a:extLst>
          </p:cNvPr>
          <p:cNvSpPr txBox="1"/>
          <p:nvPr/>
        </p:nvSpPr>
        <p:spPr>
          <a:xfrm>
            <a:off x="6697751" y="6324130"/>
            <a:ext cx="3748387" cy="1036502"/>
          </a:xfrm>
          <a:prstGeom prst="rect">
            <a:avLst/>
          </a:prstGeom>
          <a:noFill/>
        </p:spPr>
        <p:txBody>
          <a:bodyPr wrap="square" rtlCol="0">
            <a:spAutoFit/>
          </a:bodyPr>
          <a:lstStyle/>
          <a:p>
            <a:pPr>
              <a:lnSpc>
                <a:spcPts val="1500"/>
              </a:lnSpc>
              <a:spcBef>
                <a:spcPts val="1055"/>
              </a:spcBef>
            </a:pPr>
            <a:r>
              <a:rPr lang="en-AU" sz="1050" dirty="0">
                <a:solidFill>
                  <a:schemeClr val="bg1">
                    <a:lumMod val="100000"/>
                  </a:schemeClr>
                </a:solidFill>
                <a:cs typeface="Segoe UI Semilight" panose="020B0402040204020203" pitchFamily="34" charset="0"/>
              </a:rPr>
              <a:t>The full Evaluation Report contains further detail on these recommendations. The full report can be found on the NIAA’s website at: </a:t>
            </a:r>
            <a:r>
              <a:rPr lang="en-AU" sz="1050" dirty="0">
                <a:solidFill>
                  <a:schemeClr val="bg1"/>
                </a:solidFill>
                <a:cs typeface="Segoe UI Semilight" panose="020B0402040204020203" pitchFamily="34" charset="0"/>
                <a:hlinkClick r:id="rId2">
                  <a:extLst>
                    <a:ext uri="{A12FA001-AC4F-418D-AE19-62706E023703}">
                      <ahyp:hlinkClr xmlns:ahyp="http://schemas.microsoft.com/office/drawing/2018/hyperlinkcolor" val="tx"/>
                    </a:ext>
                  </a:extLst>
                </a:hlinkClick>
              </a:rPr>
              <a:t>https://www.niaa.gov.au/resource-centre/evaluation-indigenous-business-and-employment-hubs-program-final-report</a:t>
            </a:r>
            <a:endParaRPr lang="en-AU" sz="1050" dirty="0">
              <a:solidFill>
                <a:schemeClr val="bg1"/>
              </a:solidFill>
              <a:highlight>
                <a:srgbClr val="FF00FF"/>
              </a:highlight>
              <a:cs typeface="Segoe UI Semilight" panose="020B0402040204020203" pitchFamily="34" charset="0"/>
            </a:endParaRPr>
          </a:p>
        </p:txBody>
      </p:sp>
      <p:sp>
        <p:nvSpPr>
          <p:cNvPr id="36" name="Freeform: Shape 35">
            <a:extLst>
              <a:ext uri="{FF2B5EF4-FFF2-40B4-BE49-F238E27FC236}">
                <a16:creationId xmlns:a16="http://schemas.microsoft.com/office/drawing/2014/main" id="{8024FFE1-B0D9-33EA-5197-E448B9F67063}"/>
              </a:ext>
              <a:ext uri="{C183D7F6-B498-43B3-948B-1728B52AA6E4}">
                <adec:decorative xmlns:adec="http://schemas.microsoft.com/office/drawing/2017/decorative" val="1"/>
              </a:ext>
            </a:extLst>
          </p:cNvPr>
          <p:cNvSpPr/>
          <p:nvPr/>
        </p:nvSpPr>
        <p:spPr>
          <a:xfrm rot="5400000">
            <a:off x="6611037" y="6426032"/>
            <a:ext cx="88265" cy="52998"/>
          </a:xfrm>
          <a:custGeom>
            <a:avLst/>
            <a:gdLst>
              <a:gd name="connsiteX0" fmla="*/ 0 w 171450"/>
              <a:gd name="connsiteY0" fmla="*/ 114362 h 114362"/>
              <a:gd name="connsiteX1" fmla="*/ 82550 w 171450"/>
              <a:gd name="connsiteY1" fmla="*/ 62 h 114362"/>
              <a:gd name="connsiteX2" fmla="*/ 171450 w 171450"/>
              <a:gd name="connsiteY2" fmla="*/ 101662 h 114362"/>
            </a:gdLst>
            <a:ahLst/>
            <a:cxnLst>
              <a:cxn ang="0">
                <a:pos x="connsiteX0" y="connsiteY0"/>
              </a:cxn>
              <a:cxn ang="0">
                <a:pos x="connsiteX1" y="connsiteY1"/>
              </a:cxn>
              <a:cxn ang="0">
                <a:pos x="connsiteX2" y="connsiteY2"/>
              </a:cxn>
            </a:cxnLst>
            <a:rect l="l" t="t" r="r" b="b"/>
            <a:pathLst>
              <a:path w="171450" h="114362">
                <a:moveTo>
                  <a:pt x="0" y="114362"/>
                </a:moveTo>
                <a:cubicBezTo>
                  <a:pt x="26987" y="58270"/>
                  <a:pt x="53975" y="2179"/>
                  <a:pt x="82550" y="62"/>
                </a:cubicBezTo>
                <a:cubicBezTo>
                  <a:pt x="111125" y="-2055"/>
                  <a:pt x="141287" y="49803"/>
                  <a:pt x="171450" y="101662"/>
                </a:cubicBezTo>
              </a:path>
            </a:pathLst>
          </a:custGeom>
          <a:noFill/>
          <a:ln w="254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lumMod val="100000"/>
                </a:schemeClr>
              </a:solidFill>
            </a:endParaRPr>
          </a:p>
        </p:txBody>
      </p:sp>
      <p:sp>
        <p:nvSpPr>
          <p:cNvPr id="38" name="Freeform: Shape 37">
            <a:extLst>
              <a:ext uri="{FF2B5EF4-FFF2-40B4-BE49-F238E27FC236}">
                <a16:creationId xmlns:a16="http://schemas.microsoft.com/office/drawing/2014/main" id="{724D29FF-B8B8-6CDF-5E52-4106E3CED09F}"/>
              </a:ext>
              <a:ext uri="{C183D7F6-B498-43B3-948B-1728B52AA6E4}">
                <adec:decorative xmlns:adec="http://schemas.microsoft.com/office/drawing/2017/decorative" val="1"/>
              </a:ext>
            </a:extLst>
          </p:cNvPr>
          <p:cNvSpPr/>
          <p:nvPr/>
        </p:nvSpPr>
        <p:spPr>
          <a:xfrm rot="15216341">
            <a:off x="352831" y="1743152"/>
            <a:ext cx="499052" cy="487102"/>
          </a:xfrm>
          <a:custGeom>
            <a:avLst/>
            <a:gdLst>
              <a:gd name="connsiteX0" fmla="*/ 1465766 w 1633770"/>
              <a:gd name="connsiteY0" fmla="*/ 1400487 h 1594648"/>
              <a:gd name="connsiteX1" fmla="*/ 887517 w 1633770"/>
              <a:gd name="connsiteY1" fmla="*/ 1594649 h 1594648"/>
              <a:gd name="connsiteX2" fmla="*/ 0 w 1633770"/>
              <a:gd name="connsiteY2" fmla="*/ 743760 h 1594648"/>
              <a:gd name="connsiteX3" fmla="*/ 822166 w 1633770"/>
              <a:gd name="connsiteY3" fmla="*/ 0 h 1594648"/>
              <a:gd name="connsiteX4" fmla="*/ 1430467 w 1633770"/>
              <a:gd name="connsiteY4" fmla="*/ 228601 h 1594648"/>
              <a:gd name="connsiteX5" fmla="*/ 1632025 w 1633770"/>
              <a:gd name="connsiteY5" fmla="*/ 747379 h 1594648"/>
              <a:gd name="connsiteX6" fmla="*/ 1632738 w 1633770"/>
              <a:gd name="connsiteY6" fmla="*/ 828468 h 1594648"/>
              <a:gd name="connsiteX7" fmla="*/ 1465766 w 1633770"/>
              <a:gd name="connsiteY7" fmla="*/ 1400487 h 159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770" h="1594648">
                <a:moveTo>
                  <a:pt x="1465766" y="1400487"/>
                </a:moveTo>
                <a:cubicBezTo>
                  <a:pt x="1337395" y="1531005"/>
                  <a:pt x="1148338" y="1594649"/>
                  <a:pt x="887517" y="1594649"/>
                </a:cubicBezTo>
                <a:cubicBezTo>
                  <a:pt x="323516" y="1594649"/>
                  <a:pt x="0" y="1284571"/>
                  <a:pt x="0" y="743760"/>
                </a:cubicBezTo>
                <a:cubicBezTo>
                  <a:pt x="0" y="312856"/>
                  <a:pt x="345732" y="0"/>
                  <a:pt x="822166" y="0"/>
                </a:cubicBezTo>
                <a:cubicBezTo>
                  <a:pt x="1071846" y="0"/>
                  <a:pt x="1282084" y="79022"/>
                  <a:pt x="1430467" y="228601"/>
                </a:cubicBezTo>
                <a:cubicBezTo>
                  <a:pt x="1564602" y="363965"/>
                  <a:pt x="1634292" y="543395"/>
                  <a:pt x="1632025" y="747379"/>
                </a:cubicBezTo>
                <a:cubicBezTo>
                  <a:pt x="1631702" y="772836"/>
                  <a:pt x="1632220" y="799909"/>
                  <a:pt x="1632738" y="828468"/>
                </a:cubicBezTo>
                <a:cubicBezTo>
                  <a:pt x="1636235" y="994717"/>
                  <a:pt x="1640704" y="1222284"/>
                  <a:pt x="1465766" y="1400487"/>
                </a:cubicBezTo>
                <a:close/>
              </a:path>
            </a:pathLst>
          </a:custGeom>
          <a:solidFill>
            <a:srgbClr val="12355A"/>
          </a:solidFill>
          <a:ln w="6458" cap="flat">
            <a:noFill/>
            <a:prstDash val="solid"/>
            <a:miter/>
          </a:ln>
        </p:spPr>
        <p:txBody>
          <a:bodyPr rtlCol="0" anchor="ctr"/>
          <a:lstStyle/>
          <a:p>
            <a:endParaRPr lang="en-AU"/>
          </a:p>
        </p:txBody>
      </p:sp>
      <p:sp>
        <p:nvSpPr>
          <p:cNvPr id="39" name="Freeform 24">
            <a:extLst>
              <a:ext uri="{FF2B5EF4-FFF2-40B4-BE49-F238E27FC236}">
                <a16:creationId xmlns:a16="http://schemas.microsoft.com/office/drawing/2014/main" id="{69582E54-269C-737C-0CCE-5E83D8F9FBBE}"/>
              </a:ext>
              <a:ext uri="{C183D7F6-B498-43B3-948B-1728B52AA6E4}">
                <adec:decorative xmlns:adec="http://schemas.microsoft.com/office/drawing/2017/decorative" val="1"/>
              </a:ext>
            </a:extLst>
          </p:cNvPr>
          <p:cNvSpPr>
            <a:spLocks noChangeAspect="1"/>
          </p:cNvSpPr>
          <p:nvPr/>
        </p:nvSpPr>
        <p:spPr bwMode="auto">
          <a:xfrm>
            <a:off x="472982" y="1906350"/>
            <a:ext cx="271320" cy="175703"/>
          </a:xfrm>
          <a:custGeom>
            <a:avLst/>
            <a:gdLst>
              <a:gd name="T0" fmla="*/ 126 w 170"/>
              <a:gd name="T1" fmla="*/ 7 h 108"/>
              <a:gd name="T2" fmla="*/ 82 w 170"/>
              <a:gd name="T3" fmla="*/ 52 h 108"/>
              <a:gd name="T4" fmla="*/ 82 w 170"/>
              <a:gd name="T5" fmla="*/ 56 h 108"/>
              <a:gd name="T6" fmla="*/ 45 w 170"/>
              <a:gd name="T7" fmla="*/ 92 h 108"/>
              <a:gd name="T8" fmla="*/ 8 w 170"/>
              <a:gd name="T9" fmla="*/ 56 h 108"/>
              <a:gd name="T10" fmla="*/ 8 w 170"/>
              <a:gd name="T11" fmla="*/ 52 h 108"/>
              <a:gd name="T12" fmla="*/ 45 w 170"/>
              <a:gd name="T13" fmla="*/ 15 h 108"/>
              <a:gd name="T14" fmla="*/ 66 w 170"/>
              <a:gd name="T15" fmla="*/ 23 h 108"/>
              <a:gd name="T16" fmla="*/ 51 w 170"/>
              <a:gd name="T17" fmla="*/ 23 h 108"/>
              <a:gd name="T18" fmla="*/ 47 w 170"/>
              <a:gd name="T19" fmla="*/ 27 h 108"/>
              <a:gd name="T20" fmla="*/ 51 w 170"/>
              <a:gd name="T21" fmla="*/ 31 h 108"/>
              <a:gd name="T22" fmla="*/ 74 w 170"/>
              <a:gd name="T23" fmla="*/ 31 h 108"/>
              <a:gd name="T24" fmla="*/ 78 w 170"/>
              <a:gd name="T25" fmla="*/ 27 h 108"/>
              <a:gd name="T26" fmla="*/ 78 w 170"/>
              <a:gd name="T27" fmla="*/ 3 h 108"/>
              <a:gd name="T28" fmla="*/ 74 w 170"/>
              <a:gd name="T29" fmla="*/ 0 h 108"/>
              <a:gd name="T30" fmla="*/ 70 w 170"/>
              <a:gd name="T31" fmla="*/ 3 h 108"/>
              <a:gd name="T32" fmla="*/ 70 w 170"/>
              <a:gd name="T33" fmla="*/ 16 h 108"/>
              <a:gd name="T34" fmla="*/ 45 w 170"/>
              <a:gd name="T35" fmla="*/ 7 h 108"/>
              <a:gd name="T36" fmla="*/ 0 w 170"/>
              <a:gd name="T37" fmla="*/ 52 h 108"/>
              <a:gd name="T38" fmla="*/ 0 w 170"/>
              <a:gd name="T39" fmla="*/ 56 h 108"/>
              <a:gd name="T40" fmla="*/ 45 w 170"/>
              <a:gd name="T41" fmla="*/ 100 h 108"/>
              <a:gd name="T42" fmla="*/ 89 w 170"/>
              <a:gd name="T43" fmla="*/ 56 h 108"/>
              <a:gd name="T44" fmla="*/ 89 w 170"/>
              <a:gd name="T45" fmla="*/ 52 h 108"/>
              <a:gd name="T46" fmla="*/ 126 w 170"/>
              <a:gd name="T47" fmla="*/ 15 h 108"/>
              <a:gd name="T48" fmla="*/ 163 w 170"/>
              <a:gd name="T49" fmla="*/ 52 h 108"/>
              <a:gd name="T50" fmla="*/ 163 w 170"/>
              <a:gd name="T51" fmla="*/ 56 h 108"/>
              <a:gd name="T52" fmla="*/ 126 w 170"/>
              <a:gd name="T53" fmla="*/ 92 h 108"/>
              <a:gd name="T54" fmla="*/ 105 w 170"/>
              <a:gd name="T55" fmla="*/ 85 h 108"/>
              <a:gd name="T56" fmla="*/ 120 w 170"/>
              <a:gd name="T57" fmla="*/ 85 h 108"/>
              <a:gd name="T58" fmla="*/ 124 w 170"/>
              <a:gd name="T59" fmla="*/ 81 h 108"/>
              <a:gd name="T60" fmla="*/ 120 w 170"/>
              <a:gd name="T61" fmla="*/ 77 h 108"/>
              <a:gd name="T62" fmla="*/ 97 w 170"/>
              <a:gd name="T63" fmla="*/ 77 h 108"/>
              <a:gd name="T64" fmla="*/ 93 w 170"/>
              <a:gd name="T65" fmla="*/ 81 h 108"/>
              <a:gd name="T66" fmla="*/ 93 w 170"/>
              <a:gd name="T67" fmla="*/ 104 h 108"/>
              <a:gd name="T68" fmla="*/ 97 w 170"/>
              <a:gd name="T69" fmla="*/ 108 h 108"/>
              <a:gd name="T70" fmla="*/ 101 w 170"/>
              <a:gd name="T71" fmla="*/ 104 h 108"/>
              <a:gd name="T72" fmla="*/ 101 w 170"/>
              <a:gd name="T73" fmla="*/ 91 h 108"/>
              <a:gd name="T74" fmla="*/ 126 w 170"/>
              <a:gd name="T75" fmla="*/ 100 h 108"/>
              <a:gd name="T76" fmla="*/ 170 w 170"/>
              <a:gd name="T77" fmla="*/ 56 h 108"/>
              <a:gd name="T78" fmla="*/ 170 w 170"/>
              <a:gd name="T79" fmla="*/ 52 h 108"/>
              <a:gd name="T80" fmla="*/ 126 w 170"/>
              <a:gd name="T81" fmla="*/ 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08">
                <a:moveTo>
                  <a:pt x="126" y="7"/>
                </a:moveTo>
                <a:cubicBezTo>
                  <a:pt x="101" y="7"/>
                  <a:pt x="82" y="27"/>
                  <a:pt x="82" y="52"/>
                </a:cubicBezTo>
                <a:cubicBezTo>
                  <a:pt x="82" y="56"/>
                  <a:pt x="82" y="56"/>
                  <a:pt x="82" y="56"/>
                </a:cubicBezTo>
                <a:cubicBezTo>
                  <a:pt x="82" y="76"/>
                  <a:pt x="65" y="92"/>
                  <a:pt x="45" y="92"/>
                </a:cubicBezTo>
                <a:cubicBezTo>
                  <a:pt x="25" y="92"/>
                  <a:pt x="8" y="76"/>
                  <a:pt x="8" y="56"/>
                </a:cubicBezTo>
                <a:cubicBezTo>
                  <a:pt x="8" y="52"/>
                  <a:pt x="8" y="52"/>
                  <a:pt x="8" y="52"/>
                </a:cubicBezTo>
                <a:cubicBezTo>
                  <a:pt x="8" y="32"/>
                  <a:pt x="25" y="15"/>
                  <a:pt x="45" y="15"/>
                </a:cubicBezTo>
                <a:cubicBezTo>
                  <a:pt x="53" y="15"/>
                  <a:pt x="60" y="18"/>
                  <a:pt x="66" y="23"/>
                </a:cubicBezTo>
                <a:cubicBezTo>
                  <a:pt x="51" y="23"/>
                  <a:pt x="51" y="23"/>
                  <a:pt x="51" y="23"/>
                </a:cubicBezTo>
                <a:cubicBezTo>
                  <a:pt x="48" y="23"/>
                  <a:pt x="47" y="25"/>
                  <a:pt x="47" y="27"/>
                </a:cubicBezTo>
                <a:cubicBezTo>
                  <a:pt x="47" y="29"/>
                  <a:pt x="48" y="31"/>
                  <a:pt x="51" y="31"/>
                </a:cubicBezTo>
                <a:cubicBezTo>
                  <a:pt x="74" y="31"/>
                  <a:pt x="74" y="31"/>
                  <a:pt x="74" y="31"/>
                </a:cubicBezTo>
                <a:cubicBezTo>
                  <a:pt x="76" y="31"/>
                  <a:pt x="78" y="29"/>
                  <a:pt x="78" y="27"/>
                </a:cubicBezTo>
                <a:cubicBezTo>
                  <a:pt x="78" y="3"/>
                  <a:pt x="78" y="3"/>
                  <a:pt x="78" y="3"/>
                </a:cubicBezTo>
                <a:cubicBezTo>
                  <a:pt x="78" y="1"/>
                  <a:pt x="76" y="0"/>
                  <a:pt x="74" y="0"/>
                </a:cubicBezTo>
                <a:cubicBezTo>
                  <a:pt x="72" y="0"/>
                  <a:pt x="70" y="1"/>
                  <a:pt x="70" y="3"/>
                </a:cubicBezTo>
                <a:cubicBezTo>
                  <a:pt x="70" y="16"/>
                  <a:pt x="70" y="16"/>
                  <a:pt x="70" y="16"/>
                </a:cubicBezTo>
                <a:cubicBezTo>
                  <a:pt x="62" y="10"/>
                  <a:pt x="53" y="7"/>
                  <a:pt x="45" y="7"/>
                </a:cubicBezTo>
                <a:cubicBezTo>
                  <a:pt x="20" y="7"/>
                  <a:pt x="0" y="27"/>
                  <a:pt x="0" y="52"/>
                </a:cubicBezTo>
                <a:cubicBezTo>
                  <a:pt x="0" y="56"/>
                  <a:pt x="0" y="56"/>
                  <a:pt x="0" y="56"/>
                </a:cubicBezTo>
                <a:cubicBezTo>
                  <a:pt x="0" y="80"/>
                  <a:pt x="20" y="100"/>
                  <a:pt x="45" y="100"/>
                </a:cubicBezTo>
                <a:cubicBezTo>
                  <a:pt x="69" y="100"/>
                  <a:pt x="89" y="80"/>
                  <a:pt x="89" y="56"/>
                </a:cubicBezTo>
                <a:cubicBezTo>
                  <a:pt x="89" y="52"/>
                  <a:pt x="89" y="52"/>
                  <a:pt x="89" y="52"/>
                </a:cubicBezTo>
                <a:cubicBezTo>
                  <a:pt x="89" y="32"/>
                  <a:pt x="106" y="15"/>
                  <a:pt x="126" y="15"/>
                </a:cubicBezTo>
                <a:cubicBezTo>
                  <a:pt x="146" y="15"/>
                  <a:pt x="163" y="32"/>
                  <a:pt x="163" y="52"/>
                </a:cubicBezTo>
                <a:cubicBezTo>
                  <a:pt x="163" y="56"/>
                  <a:pt x="163" y="56"/>
                  <a:pt x="163" y="56"/>
                </a:cubicBezTo>
                <a:cubicBezTo>
                  <a:pt x="163" y="76"/>
                  <a:pt x="146" y="92"/>
                  <a:pt x="126" y="92"/>
                </a:cubicBezTo>
                <a:cubicBezTo>
                  <a:pt x="118" y="92"/>
                  <a:pt x="111" y="90"/>
                  <a:pt x="105" y="85"/>
                </a:cubicBezTo>
                <a:cubicBezTo>
                  <a:pt x="120" y="85"/>
                  <a:pt x="120" y="85"/>
                  <a:pt x="120" y="85"/>
                </a:cubicBezTo>
                <a:cubicBezTo>
                  <a:pt x="122" y="85"/>
                  <a:pt x="124" y="83"/>
                  <a:pt x="124" y="81"/>
                </a:cubicBezTo>
                <a:cubicBezTo>
                  <a:pt x="124" y="79"/>
                  <a:pt x="122" y="77"/>
                  <a:pt x="120" y="77"/>
                </a:cubicBezTo>
                <a:cubicBezTo>
                  <a:pt x="97" y="77"/>
                  <a:pt x="97" y="77"/>
                  <a:pt x="97" y="77"/>
                </a:cubicBezTo>
                <a:cubicBezTo>
                  <a:pt x="95" y="77"/>
                  <a:pt x="93" y="79"/>
                  <a:pt x="93" y="81"/>
                </a:cubicBezTo>
                <a:cubicBezTo>
                  <a:pt x="93" y="104"/>
                  <a:pt x="93" y="104"/>
                  <a:pt x="93" y="104"/>
                </a:cubicBezTo>
                <a:cubicBezTo>
                  <a:pt x="93" y="106"/>
                  <a:pt x="95" y="108"/>
                  <a:pt x="97" y="108"/>
                </a:cubicBezTo>
                <a:cubicBezTo>
                  <a:pt x="99" y="108"/>
                  <a:pt x="101" y="106"/>
                  <a:pt x="101" y="104"/>
                </a:cubicBezTo>
                <a:cubicBezTo>
                  <a:pt x="101" y="91"/>
                  <a:pt x="101" y="91"/>
                  <a:pt x="101" y="91"/>
                </a:cubicBezTo>
                <a:cubicBezTo>
                  <a:pt x="108" y="97"/>
                  <a:pt x="118" y="100"/>
                  <a:pt x="126" y="100"/>
                </a:cubicBezTo>
                <a:cubicBezTo>
                  <a:pt x="151" y="100"/>
                  <a:pt x="170" y="80"/>
                  <a:pt x="170" y="56"/>
                </a:cubicBezTo>
                <a:cubicBezTo>
                  <a:pt x="170" y="52"/>
                  <a:pt x="170" y="52"/>
                  <a:pt x="170" y="52"/>
                </a:cubicBezTo>
                <a:cubicBezTo>
                  <a:pt x="170" y="27"/>
                  <a:pt x="151" y="7"/>
                  <a:pt x="126" y="7"/>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AU"/>
          </a:p>
        </p:txBody>
      </p:sp>
      <p:sp>
        <p:nvSpPr>
          <p:cNvPr id="40" name="Freeform: Shape 39">
            <a:extLst>
              <a:ext uri="{FF2B5EF4-FFF2-40B4-BE49-F238E27FC236}">
                <a16:creationId xmlns:a16="http://schemas.microsoft.com/office/drawing/2014/main" id="{47403920-5480-F7D0-B5FE-1939EF0BD9DD}"/>
              </a:ext>
              <a:ext uri="{C183D7F6-B498-43B3-948B-1728B52AA6E4}">
                <adec:decorative xmlns:adec="http://schemas.microsoft.com/office/drawing/2017/decorative" val="1"/>
              </a:ext>
            </a:extLst>
          </p:cNvPr>
          <p:cNvSpPr/>
          <p:nvPr/>
        </p:nvSpPr>
        <p:spPr>
          <a:xfrm rot="2057426">
            <a:off x="349356" y="2876901"/>
            <a:ext cx="499052" cy="487102"/>
          </a:xfrm>
          <a:custGeom>
            <a:avLst/>
            <a:gdLst>
              <a:gd name="connsiteX0" fmla="*/ 1465766 w 1633770"/>
              <a:gd name="connsiteY0" fmla="*/ 1400487 h 1594648"/>
              <a:gd name="connsiteX1" fmla="*/ 887517 w 1633770"/>
              <a:gd name="connsiteY1" fmla="*/ 1594649 h 1594648"/>
              <a:gd name="connsiteX2" fmla="*/ 0 w 1633770"/>
              <a:gd name="connsiteY2" fmla="*/ 743760 h 1594648"/>
              <a:gd name="connsiteX3" fmla="*/ 822166 w 1633770"/>
              <a:gd name="connsiteY3" fmla="*/ 0 h 1594648"/>
              <a:gd name="connsiteX4" fmla="*/ 1430467 w 1633770"/>
              <a:gd name="connsiteY4" fmla="*/ 228601 h 1594648"/>
              <a:gd name="connsiteX5" fmla="*/ 1632025 w 1633770"/>
              <a:gd name="connsiteY5" fmla="*/ 747379 h 1594648"/>
              <a:gd name="connsiteX6" fmla="*/ 1632738 w 1633770"/>
              <a:gd name="connsiteY6" fmla="*/ 828468 h 1594648"/>
              <a:gd name="connsiteX7" fmla="*/ 1465766 w 1633770"/>
              <a:gd name="connsiteY7" fmla="*/ 1400487 h 159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770" h="1594648">
                <a:moveTo>
                  <a:pt x="1465766" y="1400487"/>
                </a:moveTo>
                <a:cubicBezTo>
                  <a:pt x="1337395" y="1531005"/>
                  <a:pt x="1148338" y="1594649"/>
                  <a:pt x="887517" y="1594649"/>
                </a:cubicBezTo>
                <a:cubicBezTo>
                  <a:pt x="323516" y="1594649"/>
                  <a:pt x="0" y="1284571"/>
                  <a:pt x="0" y="743760"/>
                </a:cubicBezTo>
                <a:cubicBezTo>
                  <a:pt x="0" y="312856"/>
                  <a:pt x="345732" y="0"/>
                  <a:pt x="822166" y="0"/>
                </a:cubicBezTo>
                <a:cubicBezTo>
                  <a:pt x="1071846" y="0"/>
                  <a:pt x="1282084" y="79022"/>
                  <a:pt x="1430467" y="228601"/>
                </a:cubicBezTo>
                <a:cubicBezTo>
                  <a:pt x="1564602" y="363965"/>
                  <a:pt x="1634292" y="543395"/>
                  <a:pt x="1632025" y="747379"/>
                </a:cubicBezTo>
                <a:cubicBezTo>
                  <a:pt x="1631702" y="772836"/>
                  <a:pt x="1632220" y="799909"/>
                  <a:pt x="1632738" y="828468"/>
                </a:cubicBezTo>
                <a:cubicBezTo>
                  <a:pt x="1636235" y="994717"/>
                  <a:pt x="1640704" y="1222284"/>
                  <a:pt x="1465766" y="1400487"/>
                </a:cubicBezTo>
                <a:close/>
              </a:path>
            </a:pathLst>
          </a:custGeom>
          <a:solidFill>
            <a:schemeClr val="bg1">
              <a:alpha val="7000"/>
            </a:schemeClr>
          </a:solidFill>
          <a:ln w="6458"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FDEB4F0B-CAFB-8348-51FC-A5941BACCF81}"/>
              </a:ext>
              <a:ext uri="{C183D7F6-B498-43B3-948B-1728B52AA6E4}">
                <adec:decorative xmlns:adec="http://schemas.microsoft.com/office/drawing/2017/decorative" val="1"/>
              </a:ext>
            </a:extLst>
          </p:cNvPr>
          <p:cNvSpPr/>
          <p:nvPr/>
        </p:nvSpPr>
        <p:spPr>
          <a:xfrm rot="17869234">
            <a:off x="349356" y="5535466"/>
            <a:ext cx="499052" cy="487102"/>
          </a:xfrm>
          <a:custGeom>
            <a:avLst/>
            <a:gdLst>
              <a:gd name="connsiteX0" fmla="*/ 1465766 w 1633770"/>
              <a:gd name="connsiteY0" fmla="*/ 1400487 h 1594648"/>
              <a:gd name="connsiteX1" fmla="*/ 887517 w 1633770"/>
              <a:gd name="connsiteY1" fmla="*/ 1594649 h 1594648"/>
              <a:gd name="connsiteX2" fmla="*/ 0 w 1633770"/>
              <a:gd name="connsiteY2" fmla="*/ 743760 h 1594648"/>
              <a:gd name="connsiteX3" fmla="*/ 822166 w 1633770"/>
              <a:gd name="connsiteY3" fmla="*/ 0 h 1594648"/>
              <a:gd name="connsiteX4" fmla="*/ 1430467 w 1633770"/>
              <a:gd name="connsiteY4" fmla="*/ 228601 h 1594648"/>
              <a:gd name="connsiteX5" fmla="*/ 1632025 w 1633770"/>
              <a:gd name="connsiteY5" fmla="*/ 747379 h 1594648"/>
              <a:gd name="connsiteX6" fmla="*/ 1632738 w 1633770"/>
              <a:gd name="connsiteY6" fmla="*/ 828468 h 1594648"/>
              <a:gd name="connsiteX7" fmla="*/ 1465766 w 1633770"/>
              <a:gd name="connsiteY7" fmla="*/ 1400487 h 159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770" h="1594648">
                <a:moveTo>
                  <a:pt x="1465766" y="1400487"/>
                </a:moveTo>
                <a:cubicBezTo>
                  <a:pt x="1337395" y="1531005"/>
                  <a:pt x="1148338" y="1594649"/>
                  <a:pt x="887517" y="1594649"/>
                </a:cubicBezTo>
                <a:cubicBezTo>
                  <a:pt x="323516" y="1594649"/>
                  <a:pt x="0" y="1284571"/>
                  <a:pt x="0" y="743760"/>
                </a:cubicBezTo>
                <a:cubicBezTo>
                  <a:pt x="0" y="312856"/>
                  <a:pt x="345732" y="0"/>
                  <a:pt x="822166" y="0"/>
                </a:cubicBezTo>
                <a:cubicBezTo>
                  <a:pt x="1071846" y="0"/>
                  <a:pt x="1282084" y="79022"/>
                  <a:pt x="1430467" y="228601"/>
                </a:cubicBezTo>
                <a:cubicBezTo>
                  <a:pt x="1564602" y="363965"/>
                  <a:pt x="1634292" y="543395"/>
                  <a:pt x="1632025" y="747379"/>
                </a:cubicBezTo>
                <a:cubicBezTo>
                  <a:pt x="1631702" y="772836"/>
                  <a:pt x="1632220" y="799909"/>
                  <a:pt x="1632738" y="828468"/>
                </a:cubicBezTo>
                <a:cubicBezTo>
                  <a:pt x="1636235" y="994717"/>
                  <a:pt x="1640704" y="1222284"/>
                  <a:pt x="1465766" y="1400487"/>
                </a:cubicBezTo>
                <a:close/>
              </a:path>
            </a:pathLst>
          </a:custGeom>
          <a:solidFill>
            <a:schemeClr val="bg1">
              <a:alpha val="7000"/>
            </a:schemeClr>
          </a:solidFill>
          <a:ln w="6458" cap="flat">
            <a:noFill/>
            <a:prstDash val="solid"/>
            <a:miter/>
          </a:ln>
        </p:spPr>
        <p:txBody>
          <a:bodyPr rtlCol="0" anchor="ctr"/>
          <a:lstStyle/>
          <a:p>
            <a:endParaRPr lang="en-AU"/>
          </a:p>
        </p:txBody>
      </p:sp>
      <p:grpSp>
        <p:nvGrpSpPr>
          <p:cNvPr id="42" name="Group 41">
            <a:extLst>
              <a:ext uri="{FF2B5EF4-FFF2-40B4-BE49-F238E27FC236}">
                <a16:creationId xmlns:a16="http://schemas.microsoft.com/office/drawing/2014/main" id="{7519C7A5-8245-0487-4B97-F091BB301CA1}"/>
              </a:ext>
              <a:ext uri="{C183D7F6-B498-43B3-948B-1728B52AA6E4}">
                <adec:decorative xmlns:adec="http://schemas.microsoft.com/office/drawing/2017/decorative" val="1"/>
              </a:ext>
            </a:extLst>
          </p:cNvPr>
          <p:cNvGrpSpPr/>
          <p:nvPr/>
        </p:nvGrpSpPr>
        <p:grpSpPr>
          <a:xfrm>
            <a:off x="462086" y="2968670"/>
            <a:ext cx="282216" cy="276927"/>
            <a:chOff x="401270" y="3304398"/>
            <a:chExt cx="328605" cy="322448"/>
          </a:xfrm>
          <a:solidFill>
            <a:schemeClr val="bg1"/>
          </a:solidFill>
        </p:grpSpPr>
        <p:sp>
          <p:nvSpPr>
            <p:cNvPr id="43" name="Freeform 103">
              <a:extLst>
                <a:ext uri="{FF2B5EF4-FFF2-40B4-BE49-F238E27FC236}">
                  <a16:creationId xmlns:a16="http://schemas.microsoft.com/office/drawing/2014/main" id="{D84E92C5-B886-8D91-5D7B-489CD7A7495D}"/>
                </a:ext>
              </a:extLst>
            </p:cNvPr>
            <p:cNvSpPr>
              <a:spLocks/>
            </p:cNvSpPr>
            <p:nvPr/>
          </p:nvSpPr>
          <p:spPr bwMode="auto">
            <a:xfrm>
              <a:off x="401270" y="3304398"/>
              <a:ext cx="328605" cy="316757"/>
            </a:xfrm>
            <a:custGeom>
              <a:avLst/>
              <a:gdLst>
                <a:gd name="T0" fmla="*/ 88 w 169"/>
                <a:gd name="T1" fmla="*/ 0 h 166"/>
                <a:gd name="T2" fmla="*/ 85 w 169"/>
                <a:gd name="T3" fmla="*/ 0 h 166"/>
                <a:gd name="T4" fmla="*/ 26 w 169"/>
                <a:gd name="T5" fmla="*/ 24 h 166"/>
                <a:gd name="T6" fmla="*/ 0 w 169"/>
                <a:gd name="T7" fmla="*/ 83 h 166"/>
                <a:gd name="T8" fmla="*/ 70 w 169"/>
                <a:gd name="T9" fmla="*/ 166 h 166"/>
                <a:gd name="T10" fmla="*/ 71 w 169"/>
                <a:gd name="T11" fmla="*/ 166 h 166"/>
                <a:gd name="T12" fmla="*/ 74 w 169"/>
                <a:gd name="T13" fmla="*/ 163 h 166"/>
                <a:gd name="T14" fmla="*/ 74 w 169"/>
                <a:gd name="T15" fmla="*/ 163 h 166"/>
                <a:gd name="T16" fmla="*/ 74 w 169"/>
                <a:gd name="T17" fmla="*/ 161 h 166"/>
                <a:gd name="T18" fmla="*/ 71 w 169"/>
                <a:gd name="T19" fmla="*/ 160 h 166"/>
                <a:gd name="T20" fmla="*/ 25 w 169"/>
                <a:gd name="T21" fmla="*/ 134 h 166"/>
                <a:gd name="T22" fmla="*/ 6 w 169"/>
                <a:gd name="T23" fmla="*/ 83 h 166"/>
                <a:gd name="T24" fmla="*/ 30 w 169"/>
                <a:gd name="T25" fmla="*/ 28 h 166"/>
                <a:gd name="T26" fmla="*/ 87 w 169"/>
                <a:gd name="T27" fmla="*/ 6 h 166"/>
                <a:gd name="T28" fmla="*/ 163 w 169"/>
                <a:gd name="T29" fmla="*/ 83 h 166"/>
                <a:gd name="T30" fmla="*/ 97 w 169"/>
                <a:gd name="T31" fmla="*/ 160 h 166"/>
                <a:gd name="T32" fmla="*/ 95 w 169"/>
                <a:gd name="T33" fmla="*/ 163 h 166"/>
                <a:gd name="T34" fmla="*/ 98 w 169"/>
                <a:gd name="T35" fmla="*/ 166 h 166"/>
                <a:gd name="T36" fmla="*/ 169 w 169"/>
                <a:gd name="T37" fmla="*/ 83 h 166"/>
                <a:gd name="T38" fmla="*/ 88 w 169"/>
                <a:gd name="T3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66">
                  <a:moveTo>
                    <a:pt x="88" y="0"/>
                  </a:moveTo>
                  <a:cubicBezTo>
                    <a:pt x="87" y="0"/>
                    <a:pt x="86" y="0"/>
                    <a:pt x="85" y="0"/>
                  </a:cubicBezTo>
                  <a:cubicBezTo>
                    <a:pt x="63" y="0"/>
                    <a:pt x="42" y="8"/>
                    <a:pt x="26" y="24"/>
                  </a:cubicBezTo>
                  <a:cubicBezTo>
                    <a:pt x="9" y="40"/>
                    <a:pt x="0" y="60"/>
                    <a:pt x="0" y="83"/>
                  </a:cubicBezTo>
                  <a:cubicBezTo>
                    <a:pt x="0" y="124"/>
                    <a:pt x="29" y="159"/>
                    <a:pt x="70" y="166"/>
                  </a:cubicBezTo>
                  <a:cubicBezTo>
                    <a:pt x="71" y="166"/>
                    <a:pt x="71" y="166"/>
                    <a:pt x="71" y="166"/>
                  </a:cubicBezTo>
                  <a:cubicBezTo>
                    <a:pt x="72" y="166"/>
                    <a:pt x="74" y="165"/>
                    <a:pt x="74" y="163"/>
                  </a:cubicBezTo>
                  <a:cubicBezTo>
                    <a:pt x="74" y="163"/>
                    <a:pt x="74" y="163"/>
                    <a:pt x="74" y="163"/>
                  </a:cubicBezTo>
                  <a:cubicBezTo>
                    <a:pt x="74" y="162"/>
                    <a:pt x="74" y="162"/>
                    <a:pt x="74" y="161"/>
                  </a:cubicBezTo>
                  <a:cubicBezTo>
                    <a:pt x="73" y="160"/>
                    <a:pt x="72" y="160"/>
                    <a:pt x="71" y="160"/>
                  </a:cubicBezTo>
                  <a:cubicBezTo>
                    <a:pt x="53" y="157"/>
                    <a:pt x="37" y="148"/>
                    <a:pt x="25" y="134"/>
                  </a:cubicBezTo>
                  <a:cubicBezTo>
                    <a:pt x="13" y="120"/>
                    <a:pt x="6" y="102"/>
                    <a:pt x="6" y="83"/>
                  </a:cubicBezTo>
                  <a:cubicBezTo>
                    <a:pt x="6" y="63"/>
                    <a:pt x="15" y="42"/>
                    <a:pt x="30" y="28"/>
                  </a:cubicBezTo>
                  <a:cubicBezTo>
                    <a:pt x="46" y="13"/>
                    <a:pt x="67" y="5"/>
                    <a:pt x="87" y="6"/>
                  </a:cubicBezTo>
                  <a:cubicBezTo>
                    <a:pt x="129" y="8"/>
                    <a:pt x="163" y="43"/>
                    <a:pt x="163" y="83"/>
                  </a:cubicBezTo>
                  <a:cubicBezTo>
                    <a:pt x="163" y="122"/>
                    <a:pt x="135" y="154"/>
                    <a:pt x="97" y="160"/>
                  </a:cubicBezTo>
                  <a:cubicBezTo>
                    <a:pt x="96" y="160"/>
                    <a:pt x="95" y="162"/>
                    <a:pt x="95" y="163"/>
                  </a:cubicBezTo>
                  <a:cubicBezTo>
                    <a:pt x="96" y="165"/>
                    <a:pt x="97" y="166"/>
                    <a:pt x="98" y="166"/>
                  </a:cubicBezTo>
                  <a:cubicBezTo>
                    <a:pt x="139" y="159"/>
                    <a:pt x="169" y="124"/>
                    <a:pt x="169" y="83"/>
                  </a:cubicBezTo>
                  <a:cubicBezTo>
                    <a:pt x="169" y="39"/>
                    <a:pt x="133" y="2"/>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 name="Freeform 104">
              <a:extLst>
                <a:ext uri="{FF2B5EF4-FFF2-40B4-BE49-F238E27FC236}">
                  <a16:creationId xmlns:a16="http://schemas.microsoft.com/office/drawing/2014/main" id="{38E0F726-FE25-DDBA-C87B-F224B1B06825}"/>
                </a:ext>
              </a:extLst>
            </p:cNvPr>
            <p:cNvSpPr>
              <a:spLocks/>
            </p:cNvSpPr>
            <p:nvPr/>
          </p:nvSpPr>
          <p:spPr bwMode="auto">
            <a:xfrm>
              <a:off x="447661" y="3349920"/>
              <a:ext cx="236789" cy="225713"/>
            </a:xfrm>
            <a:custGeom>
              <a:avLst/>
              <a:gdLst>
                <a:gd name="T0" fmla="*/ 73 w 122"/>
                <a:gd name="T1" fmla="*/ 116 h 118"/>
                <a:gd name="T2" fmla="*/ 73 w 122"/>
                <a:gd name="T3" fmla="*/ 116 h 118"/>
                <a:gd name="T4" fmla="*/ 74 w 122"/>
                <a:gd name="T5" fmla="*/ 118 h 118"/>
                <a:gd name="T6" fmla="*/ 76 w 122"/>
                <a:gd name="T7" fmla="*/ 118 h 118"/>
                <a:gd name="T8" fmla="*/ 122 w 122"/>
                <a:gd name="T9" fmla="*/ 59 h 118"/>
                <a:gd name="T10" fmla="*/ 60 w 122"/>
                <a:gd name="T11" fmla="*/ 0 h 118"/>
                <a:gd name="T12" fmla="*/ 0 w 122"/>
                <a:gd name="T13" fmla="*/ 59 h 118"/>
                <a:gd name="T14" fmla="*/ 45 w 122"/>
                <a:gd name="T15" fmla="*/ 118 h 118"/>
                <a:gd name="T16" fmla="*/ 46 w 122"/>
                <a:gd name="T17" fmla="*/ 118 h 118"/>
                <a:gd name="T18" fmla="*/ 49 w 122"/>
                <a:gd name="T19" fmla="*/ 116 h 118"/>
                <a:gd name="T20" fmla="*/ 49 w 122"/>
                <a:gd name="T21" fmla="*/ 116 h 118"/>
                <a:gd name="T22" fmla="*/ 46 w 122"/>
                <a:gd name="T23" fmla="*/ 112 h 118"/>
                <a:gd name="T24" fmla="*/ 6 w 122"/>
                <a:gd name="T25" fmla="*/ 59 h 118"/>
                <a:gd name="T26" fmla="*/ 60 w 122"/>
                <a:gd name="T27" fmla="*/ 6 h 118"/>
                <a:gd name="T28" fmla="*/ 99 w 122"/>
                <a:gd name="T29" fmla="*/ 22 h 118"/>
                <a:gd name="T30" fmla="*/ 116 w 122"/>
                <a:gd name="T31" fmla="*/ 59 h 118"/>
                <a:gd name="T32" fmla="*/ 74 w 122"/>
                <a:gd name="T33" fmla="*/ 112 h 118"/>
                <a:gd name="T34" fmla="*/ 73 w 122"/>
                <a:gd name="T3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18">
                  <a:moveTo>
                    <a:pt x="73" y="116"/>
                  </a:moveTo>
                  <a:cubicBezTo>
                    <a:pt x="73" y="116"/>
                    <a:pt x="73" y="116"/>
                    <a:pt x="73" y="116"/>
                  </a:cubicBezTo>
                  <a:cubicBezTo>
                    <a:pt x="73" y="117"/>
                    <a:pt x="73" y="118"/>
                    <a:pt x="74" y="118"/>
                  </a:cubicBezTo>
                  <a:cubicBezTo>
                    <a:pt x="74" y="118"/>
                    <a:pt x="75" y="118"/>
                    <a:pt x="76" y="118"/>
                  </a:cubicBezTo>
                  <a:cubicBezTo>
                    <a:pt x="103" y="111"/>
                    <a:pt x="122" y="87"/>
                    <a:pt x="122" y="59"/>
                  </a:cubicBezTo>
                  <a:cubicBezTo>
                    <a:pt x="122" y="27"/>
                    <a:pt x="94" y="0"/>
                    <a:pt x="60" y="0"/>
                  </a:cubicBezTo>
                  <a:cubicBezTo>
                    <a:pt x="27" y="0"/>
                    <a:pt x="0" y="27"/>
                    <a:pt x="0" y="59"/>
                  </a:cubicBezTo>
                  <a:cubicBezTo>
                    <a:pt x="0" y="87"/>
                    <a:pt x="18" y="111"/>
                    <a:pt x="45" y="118"/>
                  </a:cubicBezTo>
                  <a:cubicBezTo>
                    <a:pt x="46" y="118"/>
                    <a:pt x="46" y="118"/>
                    <a:pt x="46" y="118"/>
                  </a:cubicBezTo>
                  <a:cubicBezTo>
                    <a:pt x="47" y="118"/>
                    <a:pt x="49" y="117"/>
                    <a:pt x="49" y="116"/>
                  </a:cubicBezTo>
                  <a:cubicBezTo>
                    <a:pt x="49" y="116"/>
                    <a:pt x="49" y="116"/>
                    <a:pt x="49" y="116"/>
                  </a:cubicBezTo>
                  <a:cubicBezTo>
                    <a:pt x="50" y="115"/>
                    <a:pt x="48" y="113"/>
                    <a:pt x="46" y="112"/>
                  </a:cubicBezTo>
                  <a:cubicBezTo>
                    <a:pt x="22" y="106"/>
                    <a:pt x="6" y="85"/>
                    <a:pt x="6" y="59"/>
                  </a:cubicBezTo>
                  <a:cubicBezTo>
                    <a:pt x="6" y="30"/>
                    <a:pt x="30" y="6"/>
                    <a:pt x="60" y="6"/>
                  </a:cubicBezTo>
                  <a:cubicBezTo>
                    <a:pt x="75" y="6"/>
                    <a:pt x="89" y="12"/>
                    <a:pt x="99" y="22"/>
                  </a:cubicBezTo>
                  <a:cubicBezTo>
                    <a:pt x="110" y="32"/>
                    <a:pt x="116" y="45"/>
                    <a:pt x="116" y="59"/>
                  </a:cubicBezTo>
                  <a:cubicBezTo>
                    <a:pt x="116" y="84"/>
                    <a:pt x="99" y="106"/>
                    <a:pt x="74" y="112"/>
                  </a:cubicBezTo>
                  <a:cubicBezTo>
                    <a:pt x="73" y="113"/>
                    <a:pt x="72" y="114"/>
                    <a:pt x="73"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 name="Freeform 105">
              <a:extLst>
                <a:ext uri="{FF2B5EF4-FFF2-40B4-BE49-F238E27FC236}">
                  <a16:creationId xmlns:a16="http://schemas.microsoft.com/office/drawing/2014/main" id="{9A1B404A-7254-AD9A-4400-58048BCFC544}"/>
                </a:ext>
              </a:extLst>
            </p:cNvPr>
            <p:cNvSpPr>
              <a:spLocks/>
            </p:cNvSpPr>
            <p:nvPr/>
          </p:nvSpPr>
          <p:spPr bwMode="auto">
            <a:xfrm>
              <a:off x="494053" y="3400184"/>
              <a:ext cx="142074" cy="126134"/>
            </a:xfrm>
            <a:custGeom>
              <a:avLst/>
              <a:gdLst>
                <a:gd name="T0" fmla="*/ 55 w 73"/>
                <a:gd name="T1" fmla="*/ 61 h 66"/>
                <a:gd name="T2" fmla="*/ 53 w 73"/>
                <a:gd name="T3" fmla="*/ 63 h 66"/>
                <a:gd name="T4" fmla="*/ 54 w 73"/>
                <a:gd name="T5" fmla="*/ 64 h 66"/>
                <a:gd name="T6" fmla="*/ 54 w 73"/>
                <a:gd name="T7" fmla="*/ 64 h 66"/>
                <a:gd name="T8" fmla="*/ 55 w 73"/>
                <a:gd name="T9" fmla="*/ 66 h 66"/>
                <a:gd name="T10" fmla="*/ 58 w 73"/>
                <a:gd name="T11" fmla="*/ 65 h 66"/>
                <a:gd name="T12" fmla="*/ 73 w 73"/>
                <a:gd name="T13" fmla="*/ 36 h 66"/>
                <a:gd name="T14" fmla="*/ 36 w 73"/>
                <a:gd name="T15" fmla="*/ 0 h 66"/>
                <a:gd name="T16" fmla="*/ 0 w 73"/>
                <a:gd name="T17" fmla="*/ 36 h 66"/>
                <a:gd name="T18" fmla="*/ 15 w 73"/>
                <a:gd name="T19" fmla="*/ 66 h 66"/>
                <a:gd name="T20" fmla="*/ 17 w 73"/>
                <a:gd name="T21" fmla="*/ 66 h 66"/>
                <a:gd name="T22" fmla="*/ 20 w 73"/>
                <a:gd name="T23" fmla="*/ 65 h 66"/>
                <a:gd name="T24" fmla="*/ 19 w 73"/>
                <a:gd name="T25" fmla="*/ 61 h 66"/>
                <a:gd name="T26" fmla="*/ 6 w 73"/>
                <a:gd name="T27" fmla="*/ 36 h 66"/>
                <a:gd name="T28" fmla="*/ 36 w 73"/>
                <a:gd name="T29" fmla="*/ 6 h 66"/>
                <a:gd name="T30" fmla="*/ 67 w 73"/>
                <a:gd name="T31" fmla="*/ 36 h 66"/>
                <a:gd name="T32" fmla="*/ 55 w 73"/>
                <a:gd name="T33"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6">
                  <a:moveTo>
                    <a:pt x="55" y="61"/>
                  </a:moveTo>
                  <a:cubicBezTo>
                    <a:pt x="54" y="61"/>
                    <a:pt x="53" y="62"/>
                    <a:pt x="53" y="63"/>
                  </a:cubicBezTo>
                  <a:cubicBezTo>
                    <a:pt x="53" y="63"/>
                    <a:pt x="53" y="64"/>
                    <a:pt x="54" y="64"/>
                  </a:cubicBezTo>
                  <a:cubicBezTo>
                    <a:pt x="54" y="64"/>
                    <a:pt x="54" y="64"/>
                    <a:pt x="54" y="64"/>
                  </a:cubicBezTo>
                  <a:cubicBezTo>
                    <a:pt x="54" y="65"/>
                    <a:pt x="54" y="65"/>
                    <a:pt x="55" y="66"/>
                  </a:cubicBezTo>
                  <a:cubicBezTo>
                    <a:pt x="56" y="66"/>
                    <a:pt x="57" y="66"/>
                    <a:pt x="58" y="65"/>
                  </a:cubicBezTo>
                  <a:cubicBezTo>
                    <a:pt x="67" y="58"/>
                    <a:pt x="73" y="47"/>
                    <a:pt x="73" y="36"/>
                  </a:cubicBezTo>
                  <a:cubicBezTo>
                    <a:pt x="73" y="15"/>
                    <a:pt x="57" y="0"/>
                    <a:pt x="36" y="0"/>
                  </a:cubicBezTo>
                  <a:cubicBezTo>
                    <a:pt x="16" y="0"/>
                    <a:pt x="0" y="16"/>
                    <a:pt x="0" y="36"/>
                  </a:cubicBezTo>
                  <a:cubicBezTo>
                    <a:pt x="0" y="48"/>
                    <a:pt x="6" y="59"/>
                    <a:pt x="15" y="66"/>
                  </a:cubicBezTo>
                  <a:cubicBezTo>
                    <a:pt x="17" y="66"/>
                    <a:pt x="17" y="66"/>
                    <a:pt x="17" y="66"/>
                  </a:cubicBezTo>
                  <a:cubicBezTo>
                    <a:pt x="18" y="66"/>
                    <a:pt x="19" y="66"/>
                    <a:pt x="20" y="65"/>
                  </a:cubicBezTo>
                  <a:cubicBezTo>
                    <a:pt x="21" y="64"/>
                    <a:pt x="21" y="62"/>
                    <a:pt x="19" y="61"/>
                  </a:cubicBezTo>
                  <a:cubicBezTo>
                    <a:pt x="11" y="55"/>
                    <a:pt x="6" y="45"/>
                    <a:pt x="6" y="36"/>
                  </a:cubicBezTo>
                  <a:cubicBezTo>
                    <a:pt x="6" y="20"/>
                    <a:pt x="20" y="6"/>
                    <a:pt x="36" y="6"/>
                  </a:cubicBezTo>
                  <a:cubicBezTo>
                    <a:pt x="54" y="6"/>
                    <a:pt x="67" y="19"/>
                    <a:pt x="67" y="36"/>
                  </a:cubicBezTo>
                  <a:cubicBezTo>
                    <a:pt x="67" y="45"/>
                    <a:pt x="62" y="54"/>
                    <a:pt x="5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106">
              <a:extLst>
                <a:ext uri="{FF2B5EF4-FFF2-40B4-BE49-F238E27FC236}">
                  <a16:creationId xmlns:a16="http://schemas.microsoft.com/office/drawing/2014/main" id="{336383E6-F39D-DB99-C1CA-76468528444D}"/>
                </a:ext>
              </a:extLst>
            </p:cNvPr>
            <p:cNvSpPr>
              <a:spLocks/>
            </p:cNvSpPr>
            <p:nvPr/>
          </p:nvSpPr>
          <p:spPr bwMode="auto">
            <a:xfrm>
              <a:off x="533679" y="3455190"/>
              <a:ext cx="65721" cy="171656"/>
            </a:xfrm>
            <a:custGeom>
              <a:avLst/>
              <a:gdLst>
                <a:gd name="T0" fmla="*/ 31 w 34"/>
                <a:gd name="T1" fmla="*/ 20 h 90"/>
                <a:gd name="T2" fmla="*/ 34 w 34"/>
                <a:gd name="T3" fmla="*/ 18 h 90"/>
                <a:gd name="T4" fmla="*/ 33 w 34"/>
                <a:gd name="T5" fmla="*/ 15 h 90"/>
                <a:gd name="T6" fmla="*/ 19 w 34"/>
                <a:gd name="T7" fmla="*/ 1 h 90"/>
                <a:gd name="T8" fmla="*/ 17 w 34"/>
                <a:gd name="T9" fmla="*/ 0 h 90"/>
                <a:gd name="T10" fmla="*/ 16 w 34"/>
                <a:gd name="T11" fmla="*/ 0 h 90"/>
                <a:gd name="T12" fmla="*/ 15 w 34"/>
                <a:gd name="T13" fmla="*/ 1 h 90"/>
                <a:gd name="T14" fmla="*/ 1 w 34"/>
                <a:gd name="T15" fmla="*/ 15 h 90"/>
                <a:gd name="T16" fmla="*/ 0 w 34"/>
                <a:gd name="T17" fmla="*/ 18 h 90"/>
                <a:gd name="T18" fmla="*/ 2 w 34"/>
                <a:gd name="T19" fmla="*/ 20 h 90"/>
                <a:gd name="T20" fmla="*/ 5 w 34"/>
                <a:gd name="T21" fmla="*/ 19 h 90"/>
                <a:gd name="T22" fmla="*/ 14 w 34"/>
                <a:gd name="T23" fmla="*/ 11 h 90"/>
                <a:gd name="T24" fmla="*/ 14 w 34"/>
                <a:gd name="T25" fmla="*/ 87 h 90"/>
                <a:gd name="T26" fmla="*/ 17 w 34"/>
                <a:gd name="T27" fmla="*/ 90 h 90"/>
                <a:gd name="T28" fmla="*/ 20 w 34"/>
                <a:gd name="T29" fmla="*/ 87 h 90"/>
                <a:gd name="T30" fmla="*/ 20 w 34"/>
                <a:gd name="T31" fmla="*/ 11 h 90"/>
                <a:gd name="T32" fmla="*/ 29 w 34"/>
                <a:gd name="T33" fmla="*/ 19 h 90"/>
                <a:gd name="T34" fmla="*/ 31 w 34"/>
                <a:gd name="T35"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90">
                  <a:moveTo>
                    <a:pt x="31" y="20"/>
                  </a:moveTo>
                  <a:cubicBezTo>
                    <a:pt x="33" y="20"/>
                    <a:pt x="34" y="19"/>
                    <a:pt x="34" y="18"/>
                  </a:cubicBezTo>
                  <a:cubicBezTo>
                    <a:pt x="34" y="17"/>
                    <a:pt x="34" y="16"/>
                    <a:pt x="33" y="15"/>
                  </a:cubicBezTo>
                  <a:cubicBezTo>
                    <a:pt x="19" y="1"/>
                    <a:pt x="19" y="1"/>
                    <a:pt x="19" y="1"/>
                  </a:cubicBezTo>
                  <a:cubicBezTo>
                    <a:pt x="19" y="1"/>
                    <a:pt x="18" y="0"/>
                    <a:pt x="17" y="0"/>
                  </a:cubicBezTo>
                  <a:cubicBezTo>
                    <a:pt x="17" y="0"/>
                    <a:pt x="17" y="0"/>
                    <a:pt x="16" y="0"/>
                  </a:cubicBezTo>
                  <a:cubicBezTo>
                    <a:pt x="16" y="1"/>
                    <a:pt x="15" y="1"/>
                    <a:pt x="15" y="1"/>
                  </a:cubicBezTo>
                  <a:cubicBezTo>
                    <a:pt x="1" y="15"/>
                    <a:pt x="1" y="15"/>
                    <a:pt x="1" y="15"/>
                  </a:cubicBezTo>
                  <a:cubicBezTo>
                    <a:pt x="0" y="16"/>
                    <a:pt x="0" y="17"/>
                    <a:pt x="0" y="18"/>
                  </a:cubicBezTo>
                  <a:cubicBezTo>
                    <a:pt x="0" y="19"/>
                    <a:pt x="1" y="20"/>
                    <a:pt x="2" y="20"/>
                  </a:cubicBezTo>
                  <a:cubicBezTo>
                    <a:pt x="3" y="20"/>
                    <a:pt x="4" y="20"/>
                    <a:pt x="5" y="19"/>
                  </a:cubicBezTo>
                  <a:cubicBezTo>
                    <a:pt x="14" y="11"/>
                    <a:pt x="14" y="11"/>
                    <a:pt x="14" y="11"/>
                  </a:cubicBezTo>
                  <a:cubicBezTo>
                    <a:pt x="14" y="87"/>
                    <a:pt x="14" y="87"/>
                    <a:pt x="14" y="87"/>
                  </a:cubicBezTo>
                  <a:cubicBezTo>
                    <a:pt x="14" y="89"/>
                    <a:pt x="16" y="90"/>
                    <a:pt x="17" y="90"/>
                  </a:cubicBezTo>
                  <a:cubicBezTo>
                    <a:pt x="19" y="90"/>
                    <a:pt x="20" y="89"/>
                    <a:pt x="20" y="87"/>
                  </a:cubicBezTo>
                  <a:cubicBezTo>
                    <a:pt x="20" y="11"/>
                    <a:pt x="20" y="11"/>
                    <a:pt x="20" y="11"/>
                  </a:cubicBezTo>
                  <a:cubicBezTo>
                    <a:pt x="29" y="19"/>
                    <a:pt x="29" y="19"/>
                    <a:pt x="29" y="19"/>
                  </a:cubicBezTo>
                  <a:cubicBezTo>
                    <a:pt x="30" y="20"/>
                    <a:pt x="31" y="20"/>
                    <a:pt x="3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7" name="Freeform 50">
            <a:extLst>
              <a:ext uri="{FF2B5EF4-FFF2-40B4-BE49-F238E27FC236}">
                <a16:creationId xmlns:a16="http://schemas.microsoft.com/office/drawing/2014/main" id="{5B0C0438-7AAB-70E3-59D8-7A13A8C23564}"/>
              </a:ext>
              <a:ext uri="{C183D7F6-B498-43B3-948B-1728B52AA6E4}">
                <adec:decorative xmlns:adec="http://schemas.microsoft.com/office/drawing/2017/decorative" val="1"/>
              </a:ext>
            </a:extLst>
          </p:cNvPr>
          <p:cNvSpPr>
            <a:spLocks noChangeAspect="1" noEditPoints="1"/>
          </p:cNvSpPr>
          <p:nvPr/>
        </p:nvSpPr>
        <p:spPr bwMode="auto">
          <a:xfrm>
            <a:off x="484561" y="5673416"/>
            <a:ext cx="237654" cy="226464"/>
          </a:xfrm>
          <a:custGeom>
            <a:avLst/>
            <a:gdLst>
              <a:gd name="T0" fmla="*/ 149 w 159"/>
              <a:gd name="T1" fmla="*/ 146 h 152"/>
              <a:gd name="T2" fmla="*/ 144 w 159"/>
              <a:gd name="T3" fmla="*/ 35 h 152"/>
              <a:gd name="T4" fmla="*/ 114 w 159"/>
              <a:gd name="T5" fmla="*/ 41 h 152"/>
              <a:gd name="T6" fmla="*/ 114 w 159"/>
              <a:gd name="T7" fmla="*/ 107 h 152"/>
              <a:gd name="T8" fmla="*/ 114 w 159"/>
              <a:gd name="T9" fmla="*/ 146 h 152"/>
              <a:gd name="T10" fmla="*/ 101 w 159"/>
              <a:gd name="T11" fmla="*/ 71 h 152"/>
              <a:gd name="T12" fmla="*/ 71 w 159"/>
              <a:gd name="T13" fmla="*/ 65 h 152"/>
              <a:gd name="T14" fmla="*/ 66 w 159"/>
              <a:gd name="T15" fmla="*/ 129 h 152"/>
              <a:gd name="T16" fmla="*/ 53 w 159"/>
              <a:gd name="T17" fmla="*/ 146 h 152"/>
              <a:gd name="T18" fmla="*/ 47 w 159"/>
              <a:gd name="T19" fmla="*/ 85 h 152"/>
              <a:gd name="T20" fmla="*/ 17 w 159"/>
              <a:gd name="T21" fmla="*/ 90 h 152"/>
              <a:gd name="T22" fmla="*/ 6 w 159"/>
              <a:gd name="T23" fmla="*/ 146 h 152"/>
              <a:gd name="T24" fmla="*/ 128 w 159"/>
              <a:gd name="T25" fmla="*/ 9 h 152"/>
              <a:gd name="T26" fmla="*/ 131 w 159"/>
              <a:gd name="T27" fmla="*/ 24 h 152"/>
              <a:gd name="T28" fmla="*/ 134 w 159"/>
              <a:gd name="T29" fmla="*/ 3 h 152"/>
              <a:gd name="T30" fmla="*/ 114 w 159"/>
              <a:gd name="T31" fmla="*/ 0 h 152"/>
              <a:gd name="T32" fmla="*/ 114 w 159"/>
              <a:gd name="T33" fmla="*/ 6 h 152"/>
              <a:gd name="T34" fmla="*/ 6 w 159"/>
              <a:gd name="T35" fmla="*/ 70 h 152"/>
              <a:gd name="T36" fmla="*/ 3 w 159"/>
              <a:gd name="T37" fmla="*/ 4 h 152"/>
              <a:gd name="T38" fmla="*/ 0 w 159"/>
              <a:gd name="T39" fmla="*/ 149 h 152"/>
              <a:gd name="T40" fmla="*/ 156 w 159"/>
              <a:gd name="T41" fmla="*/ 152 h 152"/>
              <a:gd name="T42" fmla="*/ 156 w 159"/>
              <a:gd name="T43" fmla="*/ 146 h 152"/>
              <a:gd name="T44" fmla="*/ 143 w 159"/>
              <a:gd name="T45" fmla="*/ 58 h 152"/>
              <a:gd name="T46" fmla="*/ 120 w 159"/>
              <a:gd name="T47" fmla="*/ 41 h 152"/>
              <a:gd name="T48" fmla="*/ 120 w 159"/>
              <a:gd name="T49" fmla="*/ 107 h 152"/>
              <a:gd name="T50" fmla="*/ 120 w 159"/>
              <a:gd name="T51" fmla="*/ 107 h 152"/>
              <a:gd name="T52" fmla="*/ 143 w 159"/>
              <a:gd name="T53" fmla="*/ 65 h 152"/>
              <a:gd name="T54" fmla="*/ 120 w 159"/>
              <a:gd name="T55" fmla="*/ 146 h 152"/>
              <a:gd name="T56" fmla="*/ 120 w 159"/>
              <a:gd name="T57" fmla="*/ 107 h 152"/>
              <a:gd name="T58" fmla="*/ 95 w 159"/>
              <a:gd name="T59" fmla="*/ 94 h 152"/>
              <a:gd name="T60" fmla="*/ 72 w 159"/>
              <a:gd name="T61" fmla="*/ 146 h 152"/>
              <a:gd name="T62" fmla="*/ 72 w 159"/>
              <a:gd name="T63" fmla="*/ 94 h 152"/>
              <a:gd name="T64" fmla="*/ 95 w 159"/>
              <a:gd name="T65" fmla="*/ 72 h 152"/>
              <a:gd name="T66" fmla="*/ 72 w 159"/>
              <a:gd name="T67" fmla="*/ 88 h 152"/>
              <a:gd name="T68" fmla="*/ 95 w 159"/>
              <a:gd name="T69" fmla="*/ 72 h 152"/>
              <a:gd name="T70" fmla="*/ 46 w 159"/>
              <a:gd name="T71" fmla="*/ 146 h 152"/>
              <a:gd name="T72" fmla="*/ 24 w 159"/>
              <a:gd name="T73" fmla="*/ 116 h 152"/>
              <a:gd name="T74" fmla="*/ 46 w 159"/>
              <a:gd name="T75" fmla="*/ 91 h 152"/>
              <a:gd name="T76" fmla="*/ 24 w 159"/>
              <a:gd name="T77" fmla="*/ 109 h 152"/>
              <a:gd name="T78" fmla="*/ 46 w 159"/>
              <a:gd name="T79" fmla="*/ 9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52">
                <a:moveTo>
                  <a:pt x="156" y="146"/>
                </a:moveTo>
                <a:cubicBezTo>
                  <a:pt x="149" y="146"/>
                  <a:pt x="149" y="146"/>
                  <a:pt x="149" y="146"/>
                </a:cubicBezTo>
                <a:cubicBezTo>
                  <a:pt x="149" y="41"/>
                  <a:pt x="149" y="41"/>
                  <a:pt x="149" y="41"/>
                </a:cubicBezTo>
                <a:cubicBezTo>
                  <a:pt x="149" y="38"/>
                  <a:pt x="147" y="35"/>
                  <a:pt x="144" y="35"/>
                </a:cubicBezTo>
                <a:cubicBezTo>
                  <a:pt x="119" y="35"/>
                  <a:pt x="119" y="35"/>
                  <a:pt x="119" y="35"/>
                </a:cubicBezTo>
                <a:cubicBezTo>
                  <a:pt x="116" y="35"/>
                  <a:pt x="114" y="38"/>
                  <a:pt x="114" y="41"/>
                </a:cubicBezTo>
                <a:cubicBezTo>
                  <a:pt x="114" y="107"/>
                  <a:pt x="114" y="107"/>
                  <a:pt x="114" y="107"/>
                </a:cubicBezTo>
                <a:cubicBezTo>
                  <a:pt x="114" y="107"/>
                  <a:pt x="114" y="107"/>
                  <a:pt x="114" y="107"/>
                </a:cubicBezTo>
                <a:cubicBezTo>
                  <a:pt x="114" y="107"/>
                  <a:pt x="114" y="107"/>
                  <a:pt x="114" y="107"/>
                </a:cubicBezTo>
                <a:cubicBezTo>
                  <a:pt x="114" y="109"/>
                  <a:pt x="114" y="117"/>
                  <a:pt x="114" y="146"/>
                </a:cubicBezTo>
                <a:cubicBezTo>
                  <a:pt x="101" y="146"/>
                  <a:pt x="101" y="146"/>
                  <a:pt x="101" y="146"/>
                </a:cubicBezTo>
                <a:cubicBezTo>
                  <a:pt x="101" y="71"/>
                  <a:pt x="101" y="71"/>
                  <a:pt x="101" y="71"/>
                </a:cubicBezTo>
                <a:cubicBezTo>
                  <a:pt x="101" y="68"/>
                  <a:pt x="98" y="65"/>
                  <a:pt x="95" y="65"/>
                </a:cubicBezTo>
                <a:cubicBezTo>
                  <a:pt x="71" y="65"/>
                  <a:pt x="71" y="65"/>
                  <a:pt x="71" y="65"/>
                </a:cubicBezTo>
                <a:cubicBezTo>
                  <a:pt x="68" y="65"/>
                  <a:pt x="66" y="68"/>
                  <a:pt x="66" y="71"/>
                </a:cubicBezTo>
                <a:cubicBezTo>
                  <a:pt x="66" y="129"/>
                  <a:pt x="66" y="129"/>
                  <a:pt x="66" y="129"/>
                </a:cubicBezTo>
                <a:cubicBezTo>
                  <a:pt x="66" y="129"/>
                  <a:pt x="66" y="131"/>
                  <a:pt x="66" y="146"/>
                </a:cubicBezTo>
                <a:cubicBezTo>
                  <a:pt x="53" y="146"/>
                  <a:pt x="53" y="146"/>
                  <a:pt x="53" y="146"/>
                </a:cubicBezTo>
                <a:cubicBezTo>
                  <a:pt x="53" y="90"/>
                  <a:pt x="53" y="90"/>
                  <a:pt x="53" y="90"/>
                </a:cubicBezTo>
                <a:cubicBezTo>
                  <a:pt x="53" y="87"/>
                  <a:pt x="50" y="85"/>
                  <a:pt x="47" y="85"/>
                </a:cubicBezTo>
                <a:cubicBezTo>
                  <a:pt x="23" y="85"/>
                  <a:pt x="23" y="85"/>
                  <a:pt x="23" y="85"/>
                </a:cubicBezTo>
                <a:cubicBezTo>
                  <a:pt x="20" y="85"/>
                  <a:pt x="17" y="87"/>
                  <a:pt x="17" y="90"/>
                </a:cubicBezTo>
                <a:cubicBezTo>
                  <a:pt x="17" y="146"/>
                  <a:pt x="17" y="146"/>
                  <a:pt x="17" y="146"/>
                </a:cubicBezTo>
                <a:cubicBezTo>
                  <a:pt x="6" y="146"/>
                  <a:pt x="6" y="146"/>
                  <a:pt x="6" y="146"/>
                </a:cubicBezTo>
                <a:cubicBezTo>
                  <a:pt x="6" y="76"/>
                  <a:pt x="6" y="76"/>
                  <a:pt x="6" y="76"/>
                </a:cubicBezTo>
                <a:cubicBezTo>
                  <a:pt x="54" y="72"/>
                  <a:pt x="98" y="47"/>
                  <a:pt x="128" y="9"/>
                </a:cubicBezTo>
                <a:cubicBezTo>
                  <a:pt x="128" y="21"/>
                  <a:pt x="128" y="21"/>
                  <a:pt x="128" y="21"/>
                </a:cubicBezTo>
                <a:cubicBezTo>
                  <a:pt x="128" y="23"/>
                  <a:pt x="130" y="24"/>
                  <a:pt x="131" y="24"/>
                </a:cubicBezTo>
                <a:cubicBezTo>
                  <a:pt x="133" y="24"/>
                  <a:pt x="134" y="23"/>
                  <a:pt x="134" y="21"/>
                </a:cubicBezTo>
                <a:cubicBezTo>
                  <a:pt x="134" y="3"/>
                  <a:pt x="134" y="3"/>
                  <a:pt x="134" y="3"/>
                </a:cubicBezTo>
                <a:cubicBezTo>
                  <a:pt x="134" y="2"/>
                  <a:pt x="133" y="0"/>
                  <a:pt x="131" y="0"/>
                </a:cubicBezTo>
                <a:cubicBezTo>
                  <a:pt x="114" y="0"/>
                  <a:pt x="114" y="0"/>
                  <a:pt x="114" y="0"/>
                </a:cubicBezTo>
                <a:cubicBezTo>
                  <a:pt x="112" y="0"/>
                  <a:pt x="111" y="2"/>
                  <a:pt x="111" y="3"/>
                </a:cubicBezTo>
                <a:cubicBezTo>
                  <a:pt x="111" y="5"/>
                  <a:pt x="112" y="6"/>
                  <a:pt x="114" y="6"/>
                </a:cubicBezTo>
                <a:cubicBezTo>
                  <a:pt x="124" y="6"/>
                  <a:pt x="124" y="6"/>
                  <a:pt x="124" y="6"/>
                </a:cubicBezTo>
                <a:cubicBezTo>
                  <a:pt x="95" y="43"/>
                  <a:pt x="52" y="66"/>
                  <a:pt x="6" y="70"/>
                </a:cubicBezTo>
                <a:cubicBezTo>
                  <a:pt x="6" y="7"/>
                  <a:pt x="6" y="7"/>
                  <a:pt x="6" y="7"/>
                </a:cubicBezTo>
                <a:cubicBezTo>
                  <a:pt x="6" y="6"/>
                  <a:pt x="4" y="4"/>
                  <a:pt x="3" y="4"/>
                </a:cubicBezTo>
                <a:cubicBezTo>
                  <a:pt x="1" y="4"/>
                  <a:pt x="0" y="6"/>
                  <a:pt x="0" y="7"/>
                </a:cubicBezTo>
                <a:cubicBezTo>
                  <a:pt x="0" y="149"/>
                  <a:pt x="0" y="149"/>
                  <a:pt x="0" y="149"/>
                </a:cubicBezTo>
                <a:cubicBezTo>
                  <a:pt x="0" y="150"/>
                  <a:pt x="1" y="152"/>
                  <a:pt x="3" y="152"/>
                </a:cubicBezTo>
                <a:cubicBezTo>
                  <a:pt x="156" y="152"/>
                  <a:pt x="156" y="152"/>
                  <a:pt x="156" y="152"/>
                </a:cubicBezTo>
                <a:cubicBezTo>
                  <a:pt x="157" y="152"/>
                  <a:pt x="159" y="150"/>
                  <a:pt x="159" y="149"/>
                </a:cubicBezTo>
                <a:cubicBezTo>
                  <a:pt x="159" y="147"/>
                  <a:pt x="157" y="146"/>
                  <a:pt x="156" y="146"/>
                </a:cubicBezTo>
                <a:close/>
                <a:moveTo>
                  <a:pt x="143" y="41"/>
                </a:moveTo>
                <a:cubicBezTo>
                  <a:pt x="143" y="58"/>
                  <a:pt x="143" y="58"/>
                  <a:pt x="143" y="58"/>
                </a:cubicBezTo>
                <a:cubicBezTo>
                  <a:pt x="120" y="58"/>
                  <a:pt x="120" y="58"/>
                  <a:pt x="120" y="58"/>
                </a:cubicBezTo>
                <a:cubicBezTo>
                  <a:pt x="120" y="41"/>
                  <a:pt x="120" y="41"/>
                  <a:pt x="120" y="41"/>
                </a:cubicBezTo>
                <a:lnTo>
                  <a:pt x="143" y="41"/>
                </a:lnTo>
                <a:close/>
                <a:moveTo>
                  <a:pt x="120" y="107"/>
                </a:moveTo>
                <a:cubicBezTo>
                  <a:pt x="120" y="107"/>
                  <a:pt x="120" y="107"/>
                  <a:pt x="120" y="107"/>
                </a:cubicBezTo>
                <a:cubicBezTo>
                  <a:pt x="120" y="107"/>
                  <a:pt x="120" y="107"/>
                  <a:pt x="120" y="107"/>
                </a:cubicBezTo>
                <a:cubicBezTo>
                  <a:pt x="120" y="65"/>
                  <a:pt x="120" y="65"/>
                  <a:pt x="120" y="65"/>
                </a:cubicBezTo>
                <a:cubicBezTo>
                  <a:pt x="143" y="65"/>
                  <a:pt x="143" y="65"/>
                  <a:pt x="143" y="65"/>
                </a:cubicBezTo>
                <a:cubicBezTo>
                  <a:pt x="143" y="146"/>
                  <a:pt x="143" y="146"/>
                  <a:pt x="143" y="146"/>
                </a:cubicBezTo>
                <a:cubicBezTo>
                  <a:pt x="120" y="146"/>
                  <a:pt x="120" y="146"/>
                  <a:pt x="120" y="146"/>
                </a:cubicBezTo>
                <a:cubicBezTo>
                  <a:pt x="120" y="127"/>
                  <a:pt x="120" y="118"/>
                  <a:pt x="120" y="113"/>
                </a:cubicBezTo>
                <a:cubicBezTo>
                  <a:pt x="120" y="110"/>
                  <a:pt x="120" y="108"/>
                  <a:pt x="120" y="107"/>
                </a:cubicBezTo>
                <a:cubicBezTo>
                  <a:pt x="120" y="107"/>
                  <a:pt x="120" y="107"/>
                  <a:pt x="120" y="107"/>
                </a:cubicBezTo>
                <a:close/>
                <a:moveTo>
                  <a:pt x="95" y="94"/>
                </a:moveTo>
                <a:cubicBezTo>
                  <a:pt x="95" y="146"/>
                  <a:pt x="95" y="146"/>
                  <a:pt x="95" y="146"/>
                </a:cubicBezTo>
                <a:cubicBezTo>
                  <a:pt x="72" y="146"/>
                  <a:pt x="72" y="146"/>
                  <a:pt x="72" y="146"/>
                </a:cubicBezTo>
                <a:cubicBezTo>
                  <a:pt x="72" y="131"/>
                  <a:pt x="72" y="129"/>
                  <a:pt x="72" y="129"/>
                </a:cubicBezTo>
                <a:cubicBezTo>
                  <a:pt x="72" y="94"/>
                  <a:pt x="72" y="94"/>
                  <a:pt x="72" y="94"/>
                </a:cubicBezTo>
                <a:lnTo>
                  <a:pt x="95" y="94"/>
                </a:lnTo>
                <a:close/>
                <a:moveTo>
                  <a:pt x="95" y="72"/>
                </a:moveTo>
                <a:cubicBezTo>
                  <a:pt x="95" y="88"/>
                  <a:pt x="95" y="88"/>
                  <a:pt x="95" y="88"/>
                </a:cubicBezTo>
                <a:cubicBezTo>
                  <a:pt x="72" y="88"/>
                  <a:pt x="72" y="88"/>
                  <a:pt x="72" y="88"/>
                </a:cubicBezTo>
                <a:cubicBezTo>
                  <a:pt x="72" y="72"/>
                  <a:pt x="72" y="72"/>
                  <a:pt x="72" y="72"/>
                </a:cubicBezTo>
                <a:lnTo>
                  <a:pt x="95" y="72"/>
                </a:lnTo>
                <a:close/>
                <a:moveTo>
                  <a:pt x="46" y="116"/>
                </a:moveTo>
                <a:cubicBezTo>
                  <a:pt x="46" y="146"/>
                  <a:pt x="46" y="146"/>
                  <a:pt x="46" y="146"/>
                </a:cubicBezTo>
                <a:cubicBezTo>
                  <a:pt x="24" y="146"/>
                  <a:pt x="24" y="146"/>
                  <a:pt x="24" y="146"/>
                </a:cubicBezTo>
                <a:cubicBezTo>
                  <a:pt x="24" y="116"/>
                  <a:pt x="24" y="116"/>
                  <a:pt x="24" y="116"/>
                </a:cubicBezTo>
                <a:lnTo>
                  <a:pt x="46" y="116"/>
                </a:lnTo>
                <a:close/>
                <a:moveTo>
                  <a:pt x="46" y="91"/>
                </a:moveTo>
                <a:cubicBezTo>
                  <a:pt x="46" y="109"/>
                  <a:pt x="46" y="109"/>
                  <a:pt x="46" y="109"/>
                </a:cubicBezTo>
                <a:cubicBezTo>
                  <a:pt x="24" y="109"/>
                  <a:pt x="24" y="109"/>
                  <a:pt x="24" y="109"/>
                </a:cubicBezTo>
                <a:cubicBezTo>
                  <a:pt x="24" y="91"/>
                  <a:pt x="24" y="91"/>
                  <a:pt x="24" y="91"/>
                </a:cubicBezTo>
                <a:lnTo>
                  <a:pt x="46" y="9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48" name="Freeform: Shape 47">
            <a:extLst>
              <a:ext uri="{FF2B5EF4-FFF2-40B4-BE49-F238E27FC236}">
                <a16:creationId xmlns:a16="http://schemas.microsoft.com/office/drawing/2014/main" id="{FE270AA8-2F80-001D-A671-E694D35E7679}"/>
              </a:ext>
              <a:ext uri="{C183D7F6-B498-43B3-948B-1728B52AA6E4}">
                <adec:decorative xmlns:adec="http://schemas.microsoft.com/office/drawing/2017/decorative" val="1"/>
              </a:ext>
            </a:extLst>
          </p:cNvPr>
          <p:cNvSpPr/>
          <p:nvPr/>
        </p:nvSpPr>
        <p:spPr>
          <a:xfrm rot="15216341">
            <a:off x="5579242" y="1743151"/>
            <a:ext cx="499052" cy="487102"/>
          </a:xfrm>
          <a:custGeom>
            <a:avLst/>
            <a:gdLst>
              <a:gd name="connsiteX0" fmla="*/ 1465766 w 1633770"/>
              <a:gd name="connsiteY0" fmla="*/ 1400487 h 1594648"/>
              <a:gd name="connsiteX1" fmla="*/ 887517 w 1633770"/>
              <a:gd name="connsiteY1" fmla="*/ 1594649 h 1594648"/>
              <a:gd name="connsiteX2" fmla="*/ 0 w 1633770"/>
              <a:gd name="connsiteY2" fmla="*/ 743760 h 1594648"/>
              <a:gd name="connsiteX3" fmla="*/ 822166 w 1633770"/>
              <a:gd name="connsiteY3" fmla="*/ 0 h 1594648"/>
              <a:gd name="connsiteX4" fmla="*/ 1430467 w 1633770"/>
              <a:gd name="connsiteY4" fmla="*/ 228601 h 1594648"/>
              <a:gd name="connsiteX5" fmla="*/ 1632025 w 1633770"/>
              <a:gd name="connsiteY5" fmla="*/ 747379 h 1594648"/>
              <a:gd name="connsiteX6" fmla="*/ 1632738 w 1633770"/>
              <a:gd name="connsiteY6" fmla="*/ 828468 h 1594648"/>
              <a:gd name="connsiteX7" fmla="*/ 1465766 w 1633770"/>
              <a:gd name="connsiteY7" fmla="*/ 1400487 h 159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770" h="1594648">
                <a:moveTo>
                  <a:pt x="1465766" y="1400487"/>
                </a:moveTo>
                <a:cubicBezTo>
                  <a:pt x="1337395" y="1531005"/>
                  <a:pt x="1148338" y="1594649"/>
                  <a:pt x="887517" y="1594649"/>
                </a:cubicBezTo>
                <a:cubicBezTo>
                  <a:pt x="323516" y="1594649"/>
                  <a:pt x="0" y="1284571"/>
                  <a:pt x="0" y="743760"/>
                </a:cubicBezTo>
                <a:cubicBezTo>
                  <a:pt x="0" y="312856"/>
                  <a:pt x="345732" y="0"/>
                  <a:pt x="822166" y="0"/>
                </a:cubicBezTo>
                <a:cubicBezTo>
                  <a:pt x="1071846" y="0"/>
                  <a:pt x="1282084" y="79022"/>
                  <a:pt x="1430467" y="228601"/>
                </a:cubicBezTo>
                <a:cubicBezTo>
                  <a:pt x="1564602" y="363965"/>
                  <a:pt x="1634292" y="543395"/>
                  <a:pt x="1632025" y="747379"/>
                </a:cubicBezTo>
                <a:cubicBezTo>
                  <a:pt x="1631702" y="772836"/>
                  <a:pt x="1632220" y="799909"/>
                  <a:pt x="1632738" y="828468"/>
                </a:cubicBezTo>
                <a:cubicBezTo>
                  <a:pt x="1636235" y="994717"/>
                  <a:pt x="1640704" y="1222284"/>
                  <a:pt x="1465766" y="1400487"/>
                </a:cubicBezTo>
                <a:close/>
              </a:path>
            </a:pathLst>
          </a:custGeom>
          <a:solidFill>
            <a:schemeClr val="bg1">
              <a:alpha val="7000"/>
            </a:schemeClr>
          </a:solidFill>
          <a:ln w="6458" cap="flat">
            <a:noFill/>
            <a:prstDash val="solid"/>
            <a:miter/>
          </a:ln>
        </p:spPr>
        <p:txBody>
          <a:bodyPr rtlCol="0" anchor="ctr"/>
          <a:lstStyle/>
          <a:p>
            <a:endParaRPr lang="en-AU"/>
          </a:p>
        </p:txBody>
      </p:sp>
      <p:sp>
        <p:nvSpPr>
          <p:cNvPr id="49" name="Freeform: Shape 48">
            <a:extLst>
              <a:ext uri="{FF2B5EF4-FFF2-40B4-BE49-F238E27FC236}">
                <a16:creationId xmlns:a16="http://schemas.microsoft.com/office/drawing/2014/main" id="{D320193E-F1DA-D372-C762-224B3E5A00E2}"/>
              </a:ext>
              <a:ext uri="{C183D7F6-B498-43B3-948B-1728B52AA6E4}">
                <adec:decorative xmlns:adec="http://schemas.microsoft.com/office/drawing/2017/decorative" val="1"/>
              </a:ext>
            </a:extLst>
          </p:cNvPr>
          <p:cNvSpPr/>
          <p:nvPr/>
        </p:nvSpPr>
        <p:spPr>
          <a:xfrm rot="15216341">
            <a:off x="5579242" y="3375206"/>
            <a:ext cx="499052" cy="487102"/>
          </a:xfrm>
          <a:custGeom>
            <a:avLst/>
            <a:gdLst>
              <a:gd name="connsiteX0" fmla="*/ 1465766 w 1633770"/>
              <a:gd name="connsiteY0" fmla="*/ 1400487 h 1594648"/>
              <a:gd name="connsiteX1" fmla="*/ 887517 w 1633770"/>
              <a:gd name="connsiteY1" fmla="*/ 1594649 h 1594648"/>
              <a:gd name="connsiteX2" fmla="*/ 0 w 1633770"/>
              <a:gd name="connsiteY2" fmla="*/ 743760 h 1594648"/>
              <a:gd name="connsiteX3" fmla="*/ 822166 w 1633770"/>
              <a:gd name="connsiteY3" fmla="*/ 0 h 1594648"/>
              <a:gd name="connsiteX4" fmla="*/ 1430467 w 1633770"/>
              <a:gd name="connsiteY4" fmla="*/ 228601 h 1594648"/>
              <a:gd name="connsiteX5" fmla="*/ 1632025 w 1633770"/>
              <a:gd name="connsiteY5" fmla="*/ 747379 h 1594648"/>
              <a:gd name="connsiteX6" fmla="*/ 1632738 w 1633770"/>
              <a:gd name="connsiteY6" fmla="*/ 828468 h 1594648"/>
              <a:gd name="connsiteX7" fmla="*/ 1465766 w 1633770"/>
              <a:gd name="connsiteY7" fmla="*/ 1400487 h 159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770" h="1594648">
                <a:moveTo>
                  <a:pt x="1465766" y="1400487"/>
                </a:moveTo>
                <a:cubicBezTo>
                  <a:pt x="1337395" y="1531005"/>
                  <a:pt x="1148338" y="1594649"/>
                  <a:pt x="887517" y="1594649"/>
                </a:cubicBezTo>
                <a:cubicBezTo>
                  <a:pt x="323516" y="1594649"/>
                  <a:pt x="0" y="1284571"/>
                  <a:pt x="0" y="743760"/>
                </a:cubicBezTo>
                <a:cubicBezTo>
                  <a:pt x="0" y="312856"/>
                  <a:pt x="345732" y="0"/>
                  <a:pt x="822166" y="0"/>
                </a:cubicBezTo>
                <a:cubicBezTo>
                  <a:pt x="1071846" y="0"/>
                  <a:pt x="1282084" y="79022"/>
                  <a:pt x="1430467" y="228601"/>
                </a:cubicBezTo>
                <a:cubicBezTo>
                  <a:pt x="1564602" y="363965"/>
                  <a:pt x="1634292" y="543395"/>
                  <a:pt x="1632025" y="747379"/>
                </a:cubicBezTo>
                <a:cubicBezTo>
                  <a:pt x="1631702" y="772836"/>
                  <a:pt x="1632220" y="799909"/>
                  <a:pt x="1632738" y="828468"/>
                </a:cubicBezTo>
                <a:cubicBezTo>
                  <a:pt x="1636235" y="994717"/>
                  <a:pt x="1640704" y="1222284"/>
                  <a:pt x="1465766" y="1400487"/>
                </a:cubicBezTo>
                <a:close/>
              </a:path>
            </a:pathLst>
          </a:custGeom>
          <a:solidFill>
            <a:schemeClr val="bg1">
              <a:alpha val="7000"/>
            </a:schemeClr>
          </a:solidFill>
          <a:ln w="6458" cap="flat">
            <a:noFill/>
            <a:prstDash val="solid"/>
            <a:miter/>
          </a:ln>
        </p:spPr>
        <p:txBody>
          <a:bodyPr rtlCol="0" anchor="ctr"/>
          <a:lstStyle/>
          <a:p>
            <a:endParaRPr lang="en-AU"/>
          </a:p>
        </p:txBody>
      </p:sp>
      <p:grpSp>
        <p:nvGrpSpPr>
          <p:cNvPr id="50" name="Group 49">
            <a:extLst>
              <a:ext uri="{FF2B5EF4-FFF2-40B4-BE49-F238E27FC236}">
                <a16:creationId xmlns:a16="http://schemas.microsoft.com/office/drawing/2014/main" id="{7D4E325E-52E8-15CA-ED2C-88355B4EEB3B}"/>
              </a:ext>
              <a:ext uri="{C183D7F6-B498-43B3-948B-1728B52AA6E4}">
                <adec:decorative xmlns:adec="http://schemas.microsoft.com/office/drawing/2017/decorative" val="1"/>
              </a:ext>
            </a:extLst>
          </p:cNvPr>
          <p:cNvGrpSpPr>
            <a:grpSpLocks noChangeAspect="1"/>
          </p:cNvGrpSpPr>
          <p:nvPr/>
        </p:nvGrpSpPr>
        <p:grpSpPr>
          <a:xfrm>
            <a:off x="5708610" y="1850795"/>
            <a:ext cx="259782" cy="279387"/>
            <a:chOff x="593725" y="1041400"/>
            <a:chExt cx="504825" cy="542925"/>
          </a:xfrm>
          <a:solidFill>
            <a:schemeClr val="bg1"/>
          </a:solidFill>
        </p:grpSpPr>
        <p:sp>
          <p:nvSpPr>
            <p:cNvPr id="51" name="Freeform 6">
              <a:extLst>
                <a:ext uri="{FF2B5EF4-FFF2-40B4-BE49-F238E27FC236}">
                  <a16:creationId xmlns:a16="http://schemas.microsoft.com/office/drawing/2014/main" id="{D687129B-076F-5D6A-4141-6083D4E5B401}"/>
                </a:ext>
              </a:extLst>
            </p:cNvPr>
            <p:cNvSpPr>
              <a:spLocks noEditPoints="1"/>
            </p:cNvSpPr>
            <p:nvPr/>
          </p:nvSpPr>
          <p:spPr bwMode="auto">
            <a:xfrm>
              <a:off x="593725" y="1295400"/>
              <a:ext cx="244475" cy="288925"/>
            </a:xfrm>
            <a:custGeom>
              <a:avLst/>
              <a:gdLst>
                <a:gd name="T0" fmla="*/ 63 w 83"/>
                <a:gd name="T1" fmla="*/ 44 h 98"/>
                <a:gd name="T2" fmla="*/ 46 w 83"/>
                <a:gd name="T3" fmla="*/ 28 h 98"/>
                <a:gd name="T4" fmla="*/ 45 w 83"/>
                <a:gd name="T5" fmla="*/ 28 h 98"/>
                <a:gd name="T6" fmla="*/ 27 w 83"/>
                <a:gd name="T7" fmla="*/ 36 h 98"/>
                <a:gd name="T8" fmla="*/ 31 w 83"/>
                <a:gd name="T9" fmla="*/ 43 h 98"/>
                <a:gd name="T10" fmla="*/ 51 w 83"/>
                <a:gd name="T11" fmla="*/ 64 h 98"/>
                <a:gd name="T12" fmla="*/ 51 w 83"/>
                <a:gd name="T13" fmla="*/ 64 h 98"/>
                <a:gd name="T14" fmla="*/ 51 w 83"/>
                <a:gd name="T15" fmla="*/ 65 h 98"/>
                <a:gd name="T16" fmla="*/ 49 w 83"/>
                <a:gd name="T17" fmla="*/ 65 h 98"/>
                <a:gd name="T18" fmla="*/ 44 w 83"/>
                <a:gd name="T19" fmla="*/ 63 h 98"/>
                <a:gd name="T20" fmla="*/ 26 w 83"/>
                <a:gd name="T21" fmla="*/ 49 h 98"/>
                <a:gd name="T22" fmla="*/ 23 w 83"/>
                <a:gd name="T23" fmla="*/ 9 h 98"/>
                <a:gd name="T24" fmla="*/ 1 w 83"/>
                <a:gd name="T25" fmla="*/ 9 h 98"/>
                <a:gd name="T26" fmla="*/ 3 w 83"/>
                <a:gd name="T27" fmla="*/ 53 h 98"/>
                <a:gd name="T28" fmla="*/ 36 w 83"/>
                <a:gd name="T29" fmla="*/ 96 h 98"/>
                <a:gd name="T30" fmla="*/ 80 w 83"/>
                <a:gd name="T31" fmla="*/ 98 h 98"/>
                <a:gd name="T32" fmla="*/ 83 w 83"/>
                <a:gd name="T33" fmla="*/ 69 h 98"/>
                <a:gd name="T34" fmla="*/ 76 w 83"/>
                <a:gd name="T35" fmla="*/ 67 h 98"/>
                <a:gd name="T36" fmla="*/ 76 w 83"/>
                <a:gd name="T37" fmla="*/ 67 h 98"/>
                <a:gd name="T38" fmla="*/ 40 w 83"/>
                <a:gd name="T39" fmla="*/ 92 h 98"/>
                <a:gd name="T40" fmla="*/ 7 w 83"/>
                <a:gd name="T41" fmla="*/ 9 h 98"/>
                <a:gd name="T42" fmla="*/ 17 w 83"/>
                <a:gd name="T43" fmla="*/ 9 h 98"/>
                <a:gd name="T44" fmla="*/ 21 w 83"/>
                <a:gd name="T45" fmla="*/ 51 h 98"/>
                <a:gd name="T46" fmla="*/ 23 w 83"/>
                <a:gd name="T47" fmla="*/ 53 h 98"/>
                <a:gd name="T48" fmla="*/ 25 w 83"/>
                <a:gd name="T49" fmla="*/ 54 h 98"/>
                <a:gd name="T50" fmla="*/ 28 w 83"/>
                <a:gd name="T51" fmla="*/ 57 h 98"/>
                <a:gd name="T52" fmla="*/ 41 w 83"/>
                <a:gd name="T53" fmla="*/ 68 h 98"/>
                <a:gd name="T54" fmla="*/ 52 w 83"/>
                <a:gd name="T55" fmla="*/ 55 h 98"/>
                <a:gd name="T56" fmla="*/ 33 w 83"/>
                <a:gd name="T57" fmla="*/ 36 h 98"/>
                <a:gd name="T58" fmla="*/ 42 w 83"/>
                <a:gd name="T59" fmla="*/ 32 h 98"/>
                <a:gd name="T60" fmla="*/ 70 w 83"/>
                <a:gd name="T61" fmla="*/ 59 h 98"/>
                <a:gd name="T62" fmla="*/ 76 w 83"/>
                <a:gd name="T63" fmla="*/ 68 h 98"/>
                <a:gd name="T64" fmla="*/ 77 w 83"/>
                <a:gd name="T65" fmla="*/ 70 h 98"/>
                <a:gd name="T66" fmla="*/ 40 w 83"/>
                <a:gd name="T67"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98">
                  <a:moveTo>
                    <a:pt x="75" y="55"/>
                  </a:moveTo>
                  <a:cubicBezTo>
                    <a:pt x="71" y="52"/>
                    <a:pt x="67" y="47"/>
                    <a:pt x="63" y="44"/>
                  </a:cubicBezTo>
                  <a:cubicBezTo>
                    <a:pt x="63" y="43"/>
                    <a:pt x="63" y="43"/>
                    <a:pt x="63" y="43"/>
                  </a:cubicBezTo>
                  <a:cubicBezTo>
                    <a:pt x="56" y="37"/>
                    <a:pt x="48" y="29"/>
                    <a:pt x="46" y="28"/>
                  </a:cubicBezTo>
                  <a:cubicBezTo>
                    <a:pt x="45" y="28"/>
                    <a:pt x="45" y="28"/>
                    <a:pt x="45" y="28"/>
                  </a:cubicBezTo>
                  <a:cubicBezTo>
                    <a:pt x="45" y="28"/>
                    <a:pt x="45" y="28"/>
                    <a:pt x="45" y="28"/>
                  </a:cubicBezTo>
                  <a:cubicBezTo>
                    <a:pt x="44" y="27"/>
                    <a:pt x="42" y="27"/>
                    <a:pt x="39" y="27"/>
                  </a:cubicBezTo>
                  <a:cubicBezTo>
                    <a:pt x="32" y="27"/>
                    <a:pt x="27" y="30"/>
                    <a:pt x="27" y="36"/>
                  </a:cubicBezTo>
                  <a:cubicBezTo>
                    <a:pt x="27" y="38"/>
                    <a:pt x="28" y="39"/>
                    <a:pt x="29" y="41"/>
                  </a:cubicBezTo>
                  <a:cubicBezTo>
                    <a:pt x="30" y="42"/>
                    <a:pt x="30" y="43"/>
                    <a:pt x="31" y="43"/>
                  </a:cubicBezTo>
                  <a:cubicBezTo>
                    <a:pt x="48" y="59"/>
                    <a:pt x="48" y="59"/>
                    <a:pt x="48" y="59"/>
                  </a:cubicBezTo>
                  <a:cubicBezTo>
                    <a:pt x="50" y="60"/>
                    <a:pt x="51" y="63"/>
                    <a:pt x="51" y="64"/>
                  </a:cubicBezTo>
                  <a:cubicBezTo>
                    <a:pt x="51" y="64"/>
                    <a:pt x="51" y="64"/>
                    <a:pt x="51" y="64"/>
                  </a:cubicBezTo>
                  <a:cubicBezTo>
                    <a:pt x="51" y="64"/>
                    <a:pt x="51" y="64"/>
                    <a:pt x="51" y="64"/>
                  </a:cubicBezTo>
                  <a:cubicBezTo>
                    <a:pt x="51" y="64"/>
                    <a:pt x="51" y="65"/>
                    <a:pt x="51" y="65"/>
                  </a:cubicBezTo>
                  <a:cubicBezTo>
                    <a:pt x="51" y="65"/>
                    <a:pt x="51" y="65"/>
                    <a:pt x="51" y="65"/>
                  </a:cubicBezTo>
                  <a:cubicBezTo>
                    <a:pt x="50" y="65"/>
                    <a:pt x="50" y="65"/>
                    <a:pt x="50" y="65"/>
                  </a:cubicBezTo>
                  <a:cubicBezTo>
                    <a:pt x="49" y="65"/>
                    <a:pt x="49" y="65"/>
                    <a:pt x="49" y="65"/>
                  </a:cubicBezTo>
                  <a:cubicBezTo>
                    <a:pt x="49" y="65"/>
                    <a:pt x="49" y="65"/>
                    <a:pt x="49" y="65"/>
                  </a:cubicBezTo>
                  <a:cubicBezTo>
                    <a:pt x="48" y="65"/>
                    <a:pt x="46" y="64"/>
                    <a:pt x="44" y="63"/>
                  </a:cubicBezTo>
                  <a:cubicBezTo>
                    <a:pt x="39" y="61"/>
                    <a:pt x="33" y="55"/>
                    <a:pt x="29" y="51"/>
                  </a:cubicBezTo>
                  <a:cubicBezTo>
                    <a:pt x="28" y="50"/>
                    <a:pt x="27" y="49"/>
                    <a:pt x="26" y="49"/>
                  </a:cubicBezTo>
                  <a:cubicBezTo>
                    <a:pt x="26" y="48"/>
                    <a:pt x="23" y="43"/>
                    <a:pt x="23" y="34"/>
                  </a:cubicBezTo>
                  <a:cubicBezTo>
                    <a:pt x="23" y="9"/>
                    <a:pt x="23" y="9"/>
                    <a:pt x="23" y="9"/>
                  </a:cubicBezTo>
                  <a:cubicBezTo>
                    <a:pt x="23" y="5"/>
                    <a:pt x="18" y="0"/>
                    <a:pt x="11" y="0"/>
                  </a:cubicBezTo>
                  <a:cubicBezTo>
                    <a:pt x="6" y="0"/>
                    <a:pt x="1" y="5"/>
                    <a:pt x="1" y="9"/>
                  </a:cubicBezTo>
                  <a:cubicBezTo>
                    <a:pt x="1" y="12"/>
                    <a:pt x="1" y="16"/>
                    <a:pt x="1" y="19"/>
                  </a:cubicBezTo>
                  <a:cubicBezTo>
                    <a:pt x="1" y="32"/>
                    <a:pt x="0" y="49"/>
                    <a:pt x="3" y="53"/>
                  </a:cubicBezTo>
                  <a:cubicBezTo>
                    <a:pt x="3" y="53"/>
                    <a:pt x="3" y="53"/>
                    <a:pt x="3" y="53"/>
                  </a:cubicBezTo>
                  <a:cubicBezTo>
                    <a:pt x="10" y="68"/>
                    <a:pt x="36" y="96"/>
                    <a:pt x="36" y="96"/>
                  </a:cubicBezTo>
                  <a:cubicBezTo>
                    <a:pt x="37" y="98"/>
                    <a:pt x="37" y="98"/>
                    <a:pt x="39" y="98"/>
                  </a:cubicBezTo>
                  <a:cubicBezTo>
                    <a:pt x="80" y="98"/>
                    <a:pt x="80" y="98"/>
                    <a:pt x="80" y="98"/>
                  </a:cubicBezTo>
                  <a:cubicBezTo>
                    <a:pt x="82" y="98"/>
                    <a:pt x="83" y="96"/>
                    <a:pt x="83" y="95"/>
                  </a:cubicBezTo>
                  <a:cubicBezTo>
                    <a:pt x="83" y="69"/>
                    <a:pt x="83" y="69"/>
                    <a:pt x="83" y="69"/>
                  </a:cubicBezTo>
                  <a:cubicBezTo>
                    <a:pt x="83" y="67"/>
                    <a:pt x="79" y="59"/>
                    <a:pt x="75" y="55"/>
                  </a:cubicBezTo>
                  <a:close/>
                  <a:moveTo>
                    <a:pt x="76" y="67"/>
                  </a:moveTo>
                  <a:cubicBezTo>
                    <a:pt x="76" y="67"/>
                    <a:pt x="76" y="67"/>
                    <a:pt x="76" y="67"/>
                  </a:cubicBezTo>
                  <a:cubicBezTo>
                    <a:pt x="76" y="67"/>
                    <a:pt x="76" y="67"/>
                    <a:pt x="76" y="67"/>
                  </a:cubicBezTo>
                  <a:close/>
                  <a:moveTo>
                    <a:pt x="40" y="93"/>
                  </a:moveTo>
                  <a:cubicBezTo>
                    <a:pt x="40" y="92"/>
                    <a:pt x="40" y="92"/>
                    <a:pt x="40" y="92"/>
                  </a:cubicBezTo>
                  <a:cubicBezTo>
                    <a:pt x="35" y="88"/>
                    <a:pt x="14" y="64"/>
                    <a:pt x="9" y="51"/>
                  </a:cubicBezTo>
                  <a:cubicBezTo>
                    <a:pt x="7" y="47"/>
                    <a:pt x="7" y="27"/>
                    <a:pt x="7" y="9"/>
                  </a:cubicBezTo>
                  <a:cubicBezTo>
                    <a:pt x="7" y="7"/>
                    <a:pt x="9" y="5"/>
                    <a:pt x="11" y="5"/>
                  </a:cubicBezTo>
                  <a:cubicBezTo>
                    <a:pt x="15" y="5"/>
                    <a:pt x="17" y="7"/>
                    <a:pt x="17" y="9"/>
                  </a:cubicBezTo>
                  <a:cubicBezTo>
                    <a:pt x="17" y="34"/>
                    <a:pt x="17" y="34"/>
                    <a:pt x="17" y="34"/>
                  </a:cubicBezTo>
                  <a:cubicBezTo>
                    <a:pt x="17" y="43"/>
                    <a:pt x="20" y="48"/>
                    <a:pt x="21" y="51"/>
                  </a:cubicBezTo>
                  <a:cubicBezTo>
                    <a:pt x="21" y="51"/>
                    <a:pt x="22" y="51"/>
                    <a:pt x="22" y="52"/>
                  </a:cubicBezTo>
                  <a:cubicBezTo>
                    <a:pt x="22" y="52"/>
                    <a:pt x="23" y="53"/>
                    <a:pt x="23" y="53"/>
                  </a:cubicBezTo>
                  <a:cubicBezTo>
                    <a:pt x="23" y="53"/>
                    <a:pt x="23" y="53"/>
                    <a:pt x="23" y="53"/>
                  </a:cubicBezTo>
                  <a:cubicBezTo>
                    <a:pt x="24" y="54"/>
                    <a:pt x="24" y="54"/>
                    <a:pt x="25" y="54"/>
                  </a:cubicBezTo>
                  <a:cubicBezTo>
                    <a:pt x="25" y="55"/>
                    <a:pt x="25" y="55"/>
                    <a:pt x="25" y="55"/>
                  </a:cubicBezTo>
                  <a:cubicBezTo>
                    <a:pt x="25" y="55"/>
                    <a:pt x="26" y="56"/>
                    <a:pt x="28" y="57"/>
                  </a:cubicBezTo>
                  <a:cubicBezTo>
                    <a:pt x="28" y="57"/>
                    <a:pt x="28" y="57"/>
                    <a:pt x="28" y="57"/>
                  </a:cubicBezTo>
                  <a:cubicBezTo>
                    <a:pt x="31" y="61"/>
                    <a:pt x="37" y="66"/>
                    <a:pt x="41" y="68"/>
                  </a:cubicBezTo>
                  <a:cubicBezTo>
                    <a:pt x="48" y="71"/>
                    <a:pt x="52" y="71"/>
                    <a:pt x="56" y="68"/>
                  </a:cubicBezTo>
                  <a:cubicBezTo>
                    <a:pt x="60" y="64"/>
                    <a:pt x="54" y="56"/>
                    <a:pt x="52" y="55"/>
                  </a:cubicBezTo>
                  <a:cubicBezTo>
                    <a:pt x="35" y="39"/>
                    <a:pt x="35" y="39"/>
                    <a:pt x="35" y="39"/>
                  </a:cubicBezTo>
                  <a:cubicBezTo>
                    <a:pt x="34" y="38"/>
                    <a:pt x="33" y="36"/>
                    <a:pt x="33" y="36"/>
                  </a:cubicBezTo>
                  <a:cubicBezTo>
                    <a:pt x="33" y="33"/>
                    <a:pt x="35" y="32"/>
                    <a:pt x="39" y="32"/>
                  </a:cubicBezTo>
                  <a:cubicBezTo>
                    <a:pt x="42" y="32"/>
                    <a:pt x="42" y="32"/>
                    <a:pt x="42" y="32"/>
                  </a:cubicBezTo>
                  <a:cubicBezTo>
                    <a:pt x="43" y="32"/>
                    <a:pt x="43" y="32"/>
                    <a:pt x="43" y="32"/>
                  </a:cubicBezTo>
                  <a:cubicBezTo>
                    <a:pt x="45" y="34"/>
                    <a:pt x="62" y="50"/>
                    <a:pt x="70" y="59"/>
                  </a:cubicBezTo>
                  <a:cubicBezTo>
                    <a:pt x="73" y="61"/>
                    <a:pt x="75" y="65"/>
                    <a:pt x="76" y="67"/>
                  </a:cubicBezTo>
                  <a:cubicBezTo>
                    <a:pt x="76" y="68"/>
                    <a:pt x="76" y="68"/>
                    <a:pt x="76" y="68"/>
                  </a:cubicBezTo>
                  <a:cubicBezTo>
                    <a:pt x="77" y="68"/>
                    <a:pt x="77" y="69"/>
                    <a:pt x="77" y="70"/>
                  </a:cubicBezTo>
                  <a:cubicBezTo>
                    <a:pt x="77" y="70"/>
                    <a:pt x="77" y="70"/>
                    <a:pt x="77" y="70"/>
                  </a:cubicBezTo>
                  <a:cubicBezTo>
                    <a:pt x="77" y="93"/>
                    <a:pt x="77" y="93"/>
                    <a:pt x="77" y="93"/>
                  </a:cubicBezTo>
                  <a:lnTo>
                    <a:pt x="4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7">
              <a:extLst>
                <a:ext uri="{FF2B5EF4-FFF2-40B4-BE49-F238E27FC236}">
                  <a16:creationId xmlns:a16="http://schemas.microsoft.com/office/drawing/2014/main" id="{C16340C6-6FE6-C2A7-8AA3-928AD000A61B}"/>
                </a:ext>
              </a:extLst>
            </p:cNvPr>
            <p:cNvSpPr>
              <a:spLocks noEditPoints="1"/>
            </p:cNvSpPr>
            <p:nvPr/>
          </p:nvSpPr>
          <p:spPr bwMode="auto">
            <a:xfrm>
              <a:off x="857250" y="1295400"/>
              <a:ext cx="241300" cy="288925"/>
            </a:xfrm>
            <a:custGeom>
              <a:avLst/>
              <a:gdLst>
                <a:gd name="T0" fmla="*/ 82 w 82"/>
                <a:gd name="T1" fmla="*/ 19 h 98"/>
                <a:gd name="T2" fmla="*/ 82 w 82"/>
                <a:gd name="T3" fmla="*/ 19 h 98"/>
                <a:gd name="T4" fmla="*/ 72 w 82"/>
                <a:gd name="T5" fmla="*/ 0 h 98"/>
                <a:gd name="T6" fmla="*/ 60 w 82"/>
                <a:gd name="T7" fmla="*/ 34 h 98"/>
                <a:gd name="T8" fmla="*/ 54 w 82"/>
                <a:gd name="T9" fmla="*/ 51 h 98"/>
                <a:gd name="T10" fmla="*/ 33 w 82"/>
                <a:gd name="T11" fmla="*/ 65 h 98"/>
                <a:gd name="T12" fmla="*/ 31 w 82"/>
                <a:gd name="T13" fmla="*/ 64 h 98"/>
                <a:gd name="T14" fmla="*/ 52 w 82"/>
                <a:gd name="T15" fmla="*/ 43 h 98"/>
                <a:gd name="T16" fmla="*/ 56 w 82"/>
                <a:gd name="T17" fmla="*/ 36 h 98"/>
                <a:gd name="T18" fmla="*/ 38 w 82"/>
                <a:gd name="T19" fmla="*/ 28 h 98"/>
                <a:gd name="T20" fmla="*/ 37 w 82"/>
                <a:gd name="T21" fmla="*/ 28 h 98"/>
                <a:gd name="T22" fmla="*/ 20 w 82"/>
                <a:gd name="T23" fmla="*/ 44 h 98"/>
                <a:gd name="T24" fmla="*/ 0 w 82"/>
                <a:gd name="T25" fmla="*/ 68 h 98"/>
                <a:gd name="T26" fmla="*/ 2 w 82"/>
                <a:gd name="T27" fmla="*/ 98 h 98"/>
                <a:gd name="T28" fmla="*/ 47 w 82"/>
                <a:gd name="T29" fmla="*/ 96 h 98"/>
                <a:gd name="T30" fmla="*/ 80 w 82"/>
                <a:gd name="T31" fmla="*/ 53 h 98"/>
                <a:gd name="T32" fmla="*/ 74 w 82"/>
                <a:gd name="T33" fmla="*/ 51 h 98"/>
                <a:gd name="T34" fmla="*/ 42 w 82"/>
                <a:gd name="T35" fmla="*/ 93 h 98"/>
                <a:gd name="T36" fmla="*/ 5 w 82"/>
                <a:gd name="T37" fmla="*/ 70 h 98"/>
                <a:gd name="T38" fmla="*/ 7 w 82"/>
                <a:gd name="T39" fmla="*/ 68 h 98"/>
                <a:gd name="T40" fmla="*/ 7 w 82"/>
                <a:gd name="T41" fmla="*/ 67 h 98"/>
                <a:gd name="T42" fmla="*/ 7 w 82"/>
                <a:gd name="T43" fmla="*/ 67 h 98"/>
                <a:gd name="T44" fmla="*/ 40 w 82"/>
                <a:gd name="T45" fmla="*/ 32 h 98"/>
                <a:gd name="T46" fmla="*/ 41 w 82"/>
                <a:gd name="T47" fmla="*/ 32 h 98"/>
                <a:gd name="T48" fmla="*/ 50 w 82"/>
                <a:gd name="T49" fmla="*/ 36 h 98"/>
                <a:gd name="T50" fmla="*/ 31 w 82"/>
                <a:gd name="T51" fmla="*/ 55 h 98"/>
                <a:gd name="T52" fmla="*/ 42 w 82"/>
                <a:gd name="T53" fmla="*/ 68 h 98"/>
                <a:gd name="T54" fmla="*/ 58 w 82"/>
                <a:gd name="T55" fmla="*/ 54 h 98"/>
                <a:gd name="T56" fmla="*/ 60 w 82"/>
                <a:gd name="T57" fmla="*/ 53 h 98"/>
                <a:gd name="T58" fmla="*/ 61 w 82"/>
                <a:gd name="T59" fmla="*/ 52 h 98"/>
                <a:gd name="T60" fmla="*/ 62 w 82"/>
                <a:gd name="T61" fmla="*/ 51 h 98"/>
                <a:gd name="T62" fmla="*/ 66 w 82"/>
                <a:gd name="T63" fmla="*/ 9 h 98"/>
                <a:gd name="T64" fmla="*/ 76 w 82"/>
                <a:gd name="T65" fmla="*/ 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98">
                  <a:moveTo>
                    <a:pt x="82" y="19"/>
                  </a:moveTo>
                  <a:cubicBezTo>
                    <a:pt x="82" y="19"/>
                    <a:pt x="82" y="19"/>
                    <a:pt x="82" y="19"/>
                  </a:cubicBezTo>
                  <a:cubicBezTo>
                    <a:pt x="82" y="19"/>
                    <a:pt x="82" y="19"/>
                    <a:pt x="82" y="19"/>
                  </a:cubicBezTo>
                  <a:cubicBezTo>
                    <a:pt x="82" y="19"/>
                    <a:pt x="82" y="19"/>
                    <a:pt x="82" y="19"/>
                  </a:cubicBezTo>
                  <a:cubicBezTo>
                    <a:pt x="82" y="15"/>
                    <a:pt x="82" y="12"/>
                    <a:pt x="82" y="9"/>
                  </a:cubicBezTo>
                  <a:cubicBezTo>
                    <a:pt x="82" y="5"/>
                    <a:pt x="77" y="0"/>
                    <a:pt x="72" y="0"/>
                  </a:cubicBezTo>
                  <a:cubicBezTo>
                    <a:pt x="65" y="0"/>
                    <a:pt x="60" y="5"/>
                    <a:pt x="60" y="9"/>
                  </a:cubicBezTo>
                  <a:cubicBezTo>
                    <a:pt x="60" y="34"/>
                    <a:pt x="60" y="34"/>
                    <a:pt x="60" y="34"/>
                  </a:cubicBezTo>
                  <a:cubicBezTo>
                    <a:pt x="60" y="43"/>
                    <a:pt x="57" y="48"/>
                    <a:pt x="57" y="48"/>
                  </a:cubicBezTo>
                  <a:cubicBezTo>
                    <a:pt x="56" y="49"/>
                    <a:pt x="55" y="50"/>
                    <a:pt x="54" y="51"/>
                  </a:cubicBezTo>
                  <a:cubicBezTo>
                    <a:pt x="49" y="55"/>
                    <a:pt x="43" y="61"/>
                    <a:pt x="39" y="63"/>
                  </a:cubicBezTo>
                  <a:cubicBezTo>
                    <a:pt x="36" y="65"/>
                    <a:pt x="34" y="65"/>
                    <a:pt x="33" y="65"/>
                  </a:cubicBezTo>
                  <a:cubicBezTo>
                    <a:pt x="32" y="65"/>
                    <a:pt x="31" y="65"/>
                    <a:pt x="31" y="64"/>
                  </a:cubicBezTo>
                  <a:cubicBezTo>
                    <a:pt x="31" y="64"/>
                    <a:pt x="31" y="64"/>
                    <a:pt x="31" y="64"/>
                  </a:cubicBezTo>
                  <a:cubicBezTo>
                    <a:pt x="32" y="63"/>
                    <a:pt x="33" y="60"/>
                    <a:pt x="35" y="59"/>
                  </a:cubicBezTo>
                  <a:cubicBezTo>
                    <a:pt x="52" y="43"/>
                    <a:pt x="52" y="43"/>
                    <a:pt x="52" y="43"/>
                  </a:cubicBezTo>
                  <a:cubicBezTo>
                    <a:pt x="52" y="43"/>
                    <a:pt x="53" y="42"/>
                    <a:pt x="54" y="41"/>
                  </a:cubicBezTo>
                  <a:cubicBezTo>
                    <a:pt x="55" y="39"/>
                    <a:pt x="56" y="38"/>
                    <a:pt x="56" y="36"/>
                  </a:cubicBezTo>
                  <a:cubicBezTo>
                    <a:pt x="56" y="30"/>
                    <a:pt x="51" y="27"/>
                    <a:pt x="44" y="27"/>
                  </a:cubicBezTo>
                  <a:cubicBezTo>
                    <a:pt x="41" y="27"/>
                    <a:pt x="39" y="27"/>
                    <a:pt x="38" y="28"/>
                  </a:cubicBezTo>
                  <a:cubicBezTo>
                    <a:pt x="37" y="28"/>
                    <a:pt x="37" y="28"/>
                    <a:pt x="37" y="28"/>
                  </a:cubicBezTo>
                  <a:cubicBezTo>
                    <a:pt x="37" y="28"/>
                    <a:pt x="37" y="28"/>
                    <a:pt x="37" y="28"/>
                  </a:cubicBezTo>
                  <a:cubicBezTo>
                    <a:pt x="35" y="29"/>
                    <a:pt x="27" y="37"/>
                    <a:pt x="20" y="43"/>
                  </a:cubicBezTo>
                  <a:cubicBezTo>
                    <a:pt x="20" y="44"/>
                    <a:pt x="20" y="44"/>
                    <a:pt x="20" y="44"/>
                  </a:cubicBezTo>
                  <a:cubicBezTo>
                    <a:pt x="16" y="48"/>
                    <a:pt x="11" y="52"/>
                    <a:pt x="8" y="55"/>
                  </a:cubicBezTo>
                  <a:cubicBezTo>
                    <a:pt x="3" y="59"/>
                    <a:pt x="0" y="67"/>
                    <a:pt x="0" y="68"/>
                  </a:cubicBezTo>
                  <a:cubicBezTo>
                    <a:pt x="0" y="95"/>
                    <a:pt x="0" y="95"/>
                    <a:pt x="0" y="95"/>
                  </a:cubicBezTo>
                  <a:cubicBezTo>
                    <a:pt x="0" y="96"/>
                    <a:pt x="1" y="98"/>
                    <a:pt x="2" y="98"/>
                  </a:cubicBezTo>
                  <a:cubicBezTo>
                    <a:pt x="44" y="98"/>
                    <a:pt x="44" y="98"/>
                    <a:pt x="44" y="98"/>
                  </a:cubicBezTo>
                  <a:cubicBezTo>
                    <a:pt x="45" y="98"/>
                    <a:pt x="46" y="98"/>
                    <a:pt x="47" y="96"/>
                  </a:cubicBezTo>
                  <a:cubicBezTo>
                    <a:pt x="47" y="96"/>
                    <a:pt x="73" y="68"/>
                    <a:pt x="80" y="53"/>
                  </a:cubicBezTo>
                  <a:cubicBezTo>
                    <a:pt x="80" y="53"/>
                    <a:pt x="80" y="53"/>
                    <a:pt x="80" y="53"/>
                  </a:cubicBezTo>
                  <a:cubicBezTo>
                    <a:pt x="82" y="49"/>
                    <a:pt x="82" y="32"/>
                    <a:pt x="82" y="19"/>
                  </a:cubicBezTo>
                  <a:close/>
                  <a:moveTo>
                    <a:pt x="74" y="51"/>
                  </a:moveTo>
                  <a:cubicBezTo>
                    <a:pt x="69" y="64"/>
                    <a:pt x="48" y="88"/>
                    <a:pt x="43" y="92"/>
                  </a:cubicBezTo>
                  <a:cubicBezTo>
                    <a:pt x="42" y="93"/>
                    <a:pt x="42" y="93"/>
                    <a:pt x="42" y="93"/>
                  </a:cubicBezTo>
                  <a:cubicBezTo>
                    <a:pt x="5" y="93"/>
                    <a:pt x="5" y="93"/>
                    <a:pt x="5" y="93"/>
                  </a:cubicBezTo>
                  <a:cubicBezTo>
                    <a:pt x="5" y="70"/>
                    <a:pt x="5" y="70"/>
                    <a:pt x="5" y="70"/>
                  </a:cubicBezTo>
                  <a:cubicBezTo>
                    <a:pt x="5" y="70"/>
                    <a:pt x="5" y="70"/>
                    <a:pt x="5" y="70"/>
                  </a:cubicBezTo>
                  <a:cubicBezTo>
                    <a:pt x="6" y="69"/>
                    <a:pt x="6" y="68"/>
                    <a:pt x="7" y="68"/>
                  </a:cubicBezTo>
                  <a:cubicBezTo>
                    <a:pt x="7" y="67"/>
                    <a:pt x="7" y="67"/>
                    <a:pt x="7" y="67"/>
                  </a:cubicBezTo>
                  <a:cubicBezTo>
                    <a:pt x="7" y="67"/>
                    <a:pt x="7" y="67"/>
                    <a:pt x="7" y="67"/>
                  </a:cubicBezTo>
                  <a:cubicBezTo>
                    <a:pt x="7" y="68"/>
                    <a:pt x="7" y="68"/>
                    <a:pt x="7" y="68"/>
                  </a:cubicBezTo>
                  <a:cubicBezTo>
                    <a:pt x="7" y="67"/>
                    <a:pt x="7" y="67"/>
                    <a:pt x="7" y="67"/>
                  </a:cubicBezTo>
                  <a:cubicBezTo>
                    <a:pt x="8" y="65"/>
                    <a:pt x="10" y="61"/>
                    <a:pt x="12" y="59"/>
                  </a:cubicBezTo>
                  <a:cubicBezTo>
                    <a:pt x="20" y="50"/>
                    <a:pt x="38" y="34"/>
                    <a:pt x="40" y="32"/>
                  </a:cubicBezTo>
                  <a:cubicBezTo>
                    <a:pt x="40" y="32"/>
                    <a:pt x="40" y="32"/>
                    <a:pt x="40" y="32"/>
                  </a:cubicBezTo>
                  <a:cubicBezTo>
                    <a:pt x="41" y="32"/>
                    <a:pt x="41" y="32"/>
                    <a:pt x="41" y="32"/>
                  </a:cubicBezTo>
                  <a:cubicBezTo>
                    <a:pt x="44" y="32"/>
                    <a:pt x="44" y="32"/>
                    <a:pt x="44" y="32"/>
                  </a:cubicBezTo>
                  <a:cubicBezTo>
                    <a:pt x="48" y="32"/>
                    <a:pt x="50" y="33"/>
                    <a:pt x="50" y="36"/>
                  </a:cubicBezTo>
                  <a:cubicBezTo>
                    <a:pt x="50" y="36"/>
                    <a:pt x="49" y="37"/>
                    <a:pt x="48" y="39"/>
                  </a:cubicBezTo>
                  <a:cubicBezTo>
                    <a:pt x="31" y="55"/>
                    <a:pt x="31" y="55"/>
                    <a:pt x="31" y="55"/>
                  </a:cubicBezTo>
                  <a:cubicBezTo>
                    <a:pt x="29" y="56"/>
                    <a:pt x="22" y="64"/>
                    <a:pt x="27" y="68"/>
                  </a:cubicBezTo>
                  <a:cubicBezTo>
                    <a:pt x="30" y="71"/>
                    <a:pt x="35" y="71"/>
                    <a:pt x="42" y="68"/>
                  </a:cubicBezTo>
                  <a:cubicBezTo>
                    <a:pt x="46" y="66"/>
                    <a:pt x="51" y="61"/>
                    <a:pt x="55" y="57"/>
                  </a:cubicBezTo>
                  <a:cubicBezTo>
                    <a:pt x="57" y="56"/>
                    <a:pt x="58" y="55"/>
                    <a:pt x="58" y="54"/>
                  </a:cubicBezTo>
                  <a:cubicBezTo>
                    <a:pt x="58" y="54"/>
                    <a:pt x="58" y="54"/>
                    <a:pt x="58" y="54"/>
                  </a:cubicBezTo>
                  <a:cubicBezTo>
                    <a:pt x="59" y="54"/>
                    <a:pt x="59" y="54"/>
                    <a:pt x="60" y="53"/>
                  </a:cubicBezTo>
                  <a:cubicBezTo>
                    <a:pt x="60" y="53"/>
                    <a:pt x="60" y="53"/>
                    <a:pt x="60" y="53"/>
                  </a:cubicBezTo>
                  <a:cubicBezTo>
                    <a:pt x="60" y="53"/>
                    <a:pt x="60" y="52"/>
                    <a:pt x="61" y="52"/>
                  </a:cubicBezTo>
                  <a:cubicBezTo>
                    <a:pt x="61" y="52"/>
                    <a:pt x="61" y="52"/>
                    <a:pt x="61" y="52"/>
                  </a:cubicBezTo>
                  <a:cubicBezTo>
                    <a:pt x="61" y="51"/>
                    <a:pt x="61" y="51"/>
                    <a:pt x="62" y="51"/>
                  </a:cubicBezTo>
                  <a:cubicBezTo>
                    <a:pt x="63" y="48"/>
                    <a:pt x="66" y="43"/>
                    <a:pt x="66" y="34"/>
                  </a:cubicBezTo>
                  <a:cubicBezTo>
                    <a:pt x="66" y="9"/>
                    <a:pt x="66" y="9"/>
                    <a:pt x="66" y="9"/>
                  </a:cubicBezTo>
                  <a:cubicBezTo>
                    <a:pt x="66" y="7"/>
                    <a:pt x="68" y="5"/>
                    <a:pt x="72" y="5"/>
                  </a:cubicBezTo>
                  <a:cubicBezTo>
                    <a:pt x="74" y="5"/>
                    <a:pt x="76" y="7"/>
                    <a:pt x="76" y="9"/>
                  </a:cubicBezTo>
                  <a:cubicBezTo>
                    <a:pt x="76" y="27"/>
                    <a:pt x="76" y="47"/>
                    <a:pt x="7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8">
              <a:extLst>
                <a:ext uri="{FF2B5EF4-FFF2-40B4-BE49-F238E27FC236}">
                  <a16:creationId xmlns:a16="http://schemas.microsoft.com/office/drawing/2014/main" id="{68DB670E-A8A0-1F16-A9C6-87656F711D80}"/>
                </a:ext>
              </a:extLst>
            </p:cNvPr>
            <p:cNvSpPr>
              <a:spLocks noEditPoints="1"/>
            </p:cNvSpPr>
            <p:nvPr/>
          </p:nvSpPr>
          <p:spPr bwMode="auto">
            <a:xfrm>
              <a:off x="679450" y="1041400"/>
              <a:ext cx="336550" cy="336550"/>
            </a:xfrm>
            <a:custGeom>
              <a:avLst/>
              <a:gdLst>
                <a:gd name="T0" fmla="*/ 114 w 114"/>
                <a:gd name="T1" fmla="*/ 57 h 114"/>
                <a:gd name="T2" fmla="*/ 57 w 114"/>
                <a:gd name="T3" fmla="*/ 0 h 114"/>
                <a:gd name="T4" fmla="*/ 57 w 114"/>
                <a:gd name="T5" fmla="*/ 0 h 114"/>
                <a:gd name="T6" fmla="*/ 57 w 114"/>
                <a:gd name="T7" fmla="*/ 114 h 114"/>
                <a:gd name="T8" fmla="*/ 57 w 114"/>
                <a:gd name="T9" fmla="*/ 114 h 114"/>
                <a:gd name="T10" fmla="*/ 33 w 114"/>
                <a:gd name="T11" fmla="*/ 41 h 114"/>
                <a:gd name="T12" fmla="*/ 54 w 114"/>
                <a:gd name="T13" fmla="*/ 73 h 114"/>
                <a:gd name="T14" fmla="*/ 31 w 114"/>
                <a:gd name="T15" fmla="*/ 57 h 114"/>
                <a:gd name="T16" fmla="*/ 81 w 114"/>
                <a:gd name="T17" fmla="*/ 73 h 114"/>
                <a:gd name="T18" fmla="*/ 60 w 114"/>
                <a:gd name="T19" fmla="*/ 41 h 114"/>
                <a:gd name="T20" fmla="*/ 82 w 114"/>
                <a:gd name="T21" fmla="*/ 57 h 114"/>
                <a:gd name="T22" fmla="*/ 60 w 114"/>
                <a:gd name="T23" fmla="*/ 78 h 114"/>
                <a:gd name="T24" fmla="*/ 60 w 114"/>
                <a:gd name="T25" fmla="*/ 107 h 114"/>
                <a:gd name="T26" fmla="*/ 60 w 114"/>
                <a:gd name="T27" fmla="*/ 7 h 114"/>
                <a:gd name="T28" fmla="*/ 60 w 114"/>
                <a:gd name="T29" fmla="*/ 36 h 114"/>
                <a:gd name="T30" fmla="*/ 54 w 114"/>
                <a:gd name="T31" fmla="*/ 36 h 114"/>
                <a:gd name="T32" fmla="*/ 54 w 114"/>
                <a:gd name="T33" fmla="*/ 7 h 114"/>
                <a:gd name="T34" fmla="*/ 54 w 114"/>
                <a:gd name="T35" fmla="*/ 107 h 114"/>
                <a:gd name="T36" fmla="*/ 54 w 114"/>
                <a:gd name="T37" fmla="*/ 78 h 114"/>
                <a:gd name="T38" fmla="*/ 85 w 114"/>
                <a:gd name="T39" fmla="*/ 78 h 114"/>
                <a:gd name="T40" fmla="*/ 70 w 114"/>
                <a:gd name="T41" fmla="*/ 106 h 114"/>
                <a:gd name="T42" fmla="*/ 86 w 114"/>
                <a:gd name="T43" fmla="*/ 73 h 114"/>
                <a:gd name="T44" fmla="*/ 86 w 114"/>
                <a:gd name="T45" fmla="*/ 41 h 114"/>
                <a:gd name="T46" fmla="*/ 108 w 114"/>
                <a:gd name="T47" fmla="*/ 57 h 114"/>
                <a:gd name="T48" fmla="*/ 103 w 114"/>
                <a:gd name="T49" fmla="*/ 36 h 114"/>
                <a:gd name="T50" fmla="*/ 70 w 114"/>
                <a:gd name="T51" fmla="*/ 8 h 114"/>
                <a:gd name="T52" fmla="*/ 44 w 114"/>
                <a:gd name="T53" fmla="*/ 8 h 114"/>
                <a:gd name="T54" fmla="*/ 11 w 114"/>
                <a:gd name="T55" fmla="*/ 36 h 114"/>
                <a:gd name="T56" fmla="*/ 8 w 114"/>
                <a:gd name="T57" fmla="*/ 41 h 114"/>
                <a:gd name="T58" fmla="*/ 26 w 114"/>
                <a:gd name="T59" fmla="*/ 57 h 114"/>
                <a:gd name="T60" fmla="*/ 8 w 114"/>
                <a:gd name="T61" fmla="*/ 73 h 114"/>
                <a:gd name="T62" fmla="*/ 8 w 114"/>
                <a:gd name="T63" fmla="*/ 41 h 114"/>
                <a:gd name="T64" fmla="*/ 29 w 114"/>
                <a:gd name="T65" fmla="*/ 78 h 114"/>
                <a:gd name="T66" fmla="*/ 11 w 114"/>
                <a:gd name="T67" fmla="*/ 7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 h="114">
                  <a:moveTo>
                    <a:pt x="57" y="114"/>
                  </a:moveTo>
                  <a:cubicBezTo>
                    <a:pt x="88" y="114"/>
                    <a:pt x="114" y="88"/>
                    <a:pt x="114" y="57"/>
                  </a:cubicBezTo>
                  <a:cubicBezTo>
                    <a:pt x="114" y="26"/>
                    <a:pt x="88" y="0"/>
                    <a:pt x="57" y="0"/>
                  </a:cubicBezTo>
                  <a:cubicBezTo>
                    <a:pt x="57" y="0"/>
                    <a:pt x="57" y="0"/>
                    <a:pt x="57" y="0"/>
                  </a:cubicBezTo>
                  <a:cubicBezTo>
                    <a:pt x="57" y="0"/>
                    <a:pt x="57" y="0"/>
                    <a:pt x="57" y="0"/>
                  </a:cubicBezTo>
                  <a:cubicBezTo>
                    <a:pt x="57" y="0"/>
                    <a:pt x="57" y="0"/>
                    <a:pt x="57" y="0"/>
                  </a:cubicBezTo>
                  <a:cubicBezTo>
                    <a:pt x="26" y="0"/>
                    <a:pt x="0" y="26"/>
                    <a:pt x="0" y="57"/>
                  </a:cubicBezTo>
                  <a:cubicBezTo>
                    <a:pt x="0" y="88"/>
                    <a:pt x="26" y="114"/>
                    <a:pt x="57" y="114"/>
                  </a:cubicBezTo>
                  <a:cubicBezTo>
                    <a:pt x="57" y="114"/>
                    <a:pt x="57" y="114"/>
                    <a:pt x="57" y="114"/>
                  </a:cubicBezTo>
                  <a:cubicBezTo>
                    <a:pt x="57" y="114"/>
                    <a:pt x="57" y="114"/>
                    <a:pt x="57" y="114"/>
                  </a:cubicBezTo>
                  <a:close/>
                  <a:moveTo>
                    <a:pt x="31" y="57"/>
                  </a:moveTo>
                  <a:cubicBezTo>
                    <a:pt x="31" y="52"/>
                    <a:pt x="32" y="46"/>
                    <a:pt x="33" y="41"/>
                  </a:cubicBezTo>
                  <a:cubicBezTo>
                    <a:pt x="54" y="41"/>
                    <a:pt x="54" y="41"/>
                    <a:pt x="54" y="41"/>
                  </a:cubicBezTo>
                  <a:cubicBezTo>
                    <a:pt x="54" y="73"/>
                    <a:pt x="54" y="73"/>
                    <a:pt x="54" y="73"/>
                  </a:cubicBezTo>
                  <a:cubicBezTo>
                    <a:pt x="33" y="73"/>
                    <a:pt x="33" y="73"/>
                    <a:pt x="33" y="73"/>
                  </a:cubicBezTo>
                  <a:cubicBezTo>
                    <a:pt x="32" y="68"/>
                    <a:pt x="31" y="63"/>
                    <a:pt x="31" y="57"/>
                  </a:cubicBezTo>
                  <a:close/>
                  <a:moveTo>
                    <a:pt x="82" y="57"/>
                  </a:moveTo>
                  <a:cubicBezTo>
                    <a:pt x="82" y="63"/>
                    <a:pt x="82" y="68"/>
                    <a:pt x="81" y="73"/>
                  </a:cubicBezTo>
                  <a:cubicBezTo>
                    <a:pt x="60" y="73"/>
                    <a:pt x="60" y="73"/>
                    <a:pt x="60" y="73"/>
                  </a:cubicBezTo>
                  <a:cubicBezTo>
                    <a:pt x="60" y="41"/>
                    <a:pt x="60" y="41"/>
                    <a:pt x="60" y="41"/>
                  </a:cubicBezTo>
                  <a:cubicBezTo>
                    <a:pt x="81" y="41"/>
                    <a:pt x="81" y="41"/>
                    <a:pt x="81" y="41"/>
                  </a:cubicBezTo>
                  <a:cubicBezTo>
                    <a:pt x="82" y="46"/>
                    <a:pt x="82" y="52"/>
                    <a:pt x="82" y="57"/>
                  </a:cubicBezTo>
                  <a:close/>
                  <a:moveTo>
                    <a:pt x="60" y="107"/>
                  </a:moveTo>
                  <a:cubicBezTo>
                    <a:pt x="60" y="78"/>
                    <a:pt x="60" y="78"/>
                    <a:pt x="60" y="78"/>
                  </a:cubicBezTo>
                  <a:cubicBezTo>
                    <a:pt x="79" y="78"/>
                    <a:pt x="79" y="78"/>
                    <a:pt x="79" y="78"/>
                  </a:cubicBezTo>
                  <a:cubicBezTo>
                    <a:pt x="75" y="94"/>
                    <a:pt x="66" y="105"/>
                    <a:pt x="60" y="107"/>
                  </a:cubicBezTo>
                  <a:close/>
                  <a:moveTo>
                    <a:pt x="60" y="36"/>
                  </a:moveTo>
                  <a:cubicBezTo>
                    <a:pt x="60" y="7"/>
                    <a:pt x="60" y="7"/>
                    <a:pt x="60" y="7"/>
                  </a:cubicBezTo>
                  <a:cubicBezTo>
                    <a:pt x="66" y="10"/>
                    <a:pt x="75" y="20"/>
                    <a:pt x="79" y="36"/>
                  </a:cubicBezTo>
                  <a:lnTo>
                    <a:pt x="60" y="36"/>
                  </a:lnTo>
                  <a:close/>
                  <a:moveTo>
                    <a:pt x="54" y="7"/>
                  </a:moveTo>
                  <a:cubicBezTo>
                    <a:pt x="54" y="36"/>
                    <a:pt x="54" y="36"/>
                    <a:pt x="54" y="36"/>
                  </a:cubicBezTo>
                  <a:cubicBezTo>
                    <a:pt x="35" y="36"/>
                    <a:pt x="35" y="36"/>
                    <a:pt x="35" y="36"/>
                  </a:cubicBezTo>
                  <a:cubicBezTo>
                    <a:pt x="39" y="20"/>
                    <a:pt x="48" y="10"/>
                    <a:pt x="54" y="7"/>
                  </a:cubicBezTo>
                  <a:close/>
                  <a:moveTo>
                    <a:pt x="54" y="78"/>
                  </a:moveTo>
                  <a:cubicBezTo>
                    <a:pt x="54" y="107"/>
                    <a:pt x="54" y="107"/>
                    <a:pt x="54" y="107"/>
                  </a:cubicBezTo>
                  <a:cubicBezTo>
                    <a:pt x="48" y="105"/>
                    <a:pt x="39" y="94"/>
                    <a:pt x="35" y="78"/>
                  </a:cubicBezTo>
                  <a:lnTo>
                    <a:pt x="54" y="78"/>
                  </a:lnTo>
                  <a:close/>
                  <a:moveTo>
                    <a:pt x="70" y="106"/>
                  </a:moveTo>
                  <a:cubicBezTo>
                    <a:pt x="76" y="100"/>
                    <a:pt x="82" y="90"/>
                    <a:pt x="85" y="78"/>
                  </a:cubicBezTo>
                  <a:cubicBezTo>
                    <a:pt x="103" y="78"/>
                    <a:pt x="103" y="78"/>
                    <a:pt x="103" y="78"/>
                  </a:cubicBezTo>
                  <a:cubicBezTo>
                    <a:pt x="97" y="92"/>
                    <a:pt x="85" y="102"/>
                    <a:pt x="70" y="106"/>
                  </a:cubicBezTo>
                  <a:close/>
                  <a:moveTo>
                    <a:pt x="105" y="73"/>
                  </a:moveTo>
                  <a:cubicBezTo>
                    <a:pt x="86" y="73"/>
                    <a:pt x="86" y="73"/>
                    <a:pt x="86" y="73"/>
                  </a:cubicBezTo>
                  <a:cubicBezTo>
                    <a:pt x="87" y="68"/>
                    <a:pt x="88" y="63"/>
                    <a:pt x="88" y="57"/>
                  </a:cubicBezTo>
                  <a:cubicBezTo>
                    <a:pt x="88" y="52"/>
                    <a:pt x="87" y="46"/>
                    <a:pt x="86" y="41"/>
                  </a:cubicBezTo>
                  <a:cubicBezTo>
                    <a:pt x="105" y="41"/>
                    <a:pt x="105" y="41"/>
                    <a:pt x="105" y="41"/>
                  </a:cubicBezTo>
                  <a:cubicBezTo>
                    <a:pt x="107" y="46"/>
                    <a:pt x="108" y="52"/>
                    <a:pt x="108" y="57"/>
                  </a:cubicBezTo>
                  <a:cubicBezTo>
                    <a:pt x="108" y="63"/>
                    <a:pt x="107" y="68"/>
                    <a:pt x="105" y="73"/>
                  </a:cubicBezTo>
                  <a:close/>
                  <a:moveTo>
                    <a:pt x="103" y="36"/>
                  </a:moveTo>
                  <a:cubicBezTo>
                    <a:pt x="85" y="36"/>
                    <a:pt x="85" y="36"/>
                    <a:pt x="85" y="36"/>
                  </a:cubicBezTo>
                  <a:cubicBezTo>
                    <a:pt x="82" y="24"/>
                    <a:pt x="76" y="14"/>
                    <a:pt x="70" y="8"/>
                  </a:cubicBezTo>
                  <a:cubicBezTo>
                    <a:pt x="85" y="12"/>
                    <a:pt x="97" y="22"/>
                    <a:pt x="103" y="36"/>
                  </a:cubicBezTo>
                  <a:close/>
                  <a:moveTo>
                    <a:pt x="44" y="8"/>
                  </a:moveTo>
                  <a:cubicBezTo>
                    <a:pt x="38" y="14"/>
                    <a:pt x="32" y="24"/>
                    <a:pt x="29" y="36"/>
                  </a:cubicBezTo>
                  <a:cubicBezTo>
                    <a:pt x="11" y="36"/>
                    <a:pt x="11" y="36"/>
                    <a:pt x="11" y="36"/>
                  </a:cubicBezTo>
                  <a:cubicBezTo>
                    <a:pt x="17" y="22"/>
                    <a:pt x="29" y="12"/>
                    <a:pt x="44" y="8"/>
                  </a:cubicBezTo>
                  <a:close/>
                  <a:moveTo>
                    <a:pt x="8" y="41"/>
                  </a:moveTo>
                  <a:cubicBezTo>
                    <a:pt x="27" y="41"/>
                    <a:pt x="27" y="41"/>
                    <a:pt x="27" y="41"/>
                  </a:cubicBezTo>
                  <a:cubicBezTo>
                    <a:pt x="26" y="46"/>
                    <a:pt x="26" y="52"/>
                    <a:pt x="26" y="57"/>
                  </a:cubicBezTo>
                  <a:cubicBezTo>
                    <a:pt x="26" y="63"/>
                    <a:pt x="26" y="68"/>
                    <a:pt x="27" y="73"/>
                  </a:cubicBezTo>
                  <a:cubicBezTo>
                    <a:pt x="8" y="73"/>
                    <a:pt x="8" y="73"/>
                    <a:pt x="8" y="73"/>
                  </a:cubicBezTo>
                  <a:cubicBezTo>
                    <a:pt x="7" y="68"/>
                    <a:pt x="6" y="63"/>
                    <a:pt x="6" y="57"/>
                  </a:cubicBezTo>
                  <a:cubicBezTo>
                    <a:pt x="6" y="52"/>
                    <a:pt x="7" y="46"/>
                    <a:pt x="8" y="41"/>
                  </a:cubicBezTo>
                  <a:close/>
                  <a:moveTo>
                    <a:pt x="11" y="78"/>
                  </a:moveTo>
                  <a:cubicBezTo>
                    <a:pt x="29" y="78"/>
                    <a:pt x="29" y="78"/>
                    <a:pt x="29" y="78"/>
                  </a:cubicBezTo>
                  <a:cubicBezTo>
                    <a:pt x="32" y="90"/>
                    <a:pt x="38" y="100"/>
                    <a:pt x="44" y="106"/>
                  </a:cubicBezTo>
                  <a:cubicBezTo>
                    <a:pt x="29" y="102"/>
                    <a:pt x="17" y="92"/>
                    <a:pt x="1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54" name="Freeform 137">
            <a:extLst>
              <a:ext uri="{FF2B5EF4-FFF2-40B4-BE49-F238E27FC236}">
                <a16:creationId xmlns:a16="http://schemas.microsoft.com/office/drawing/2014/main" id="{2832E508-4EB3-B53F-2633-E180478A641B}"/>
              </a:ext>
              <a:ext uri="{C183D7F6-B498-43B3-948B-1728B52AA6E4}">
                <adec:decorative xmlns:adec="http://schemas.microsoft.com/office/drawing/2017/decorative" val="1"/>
              </a:ext>
            </a:extLst>
          </p:cNvPr>
          <p:cNvSpPr>
            <a:spLocks noChangeAspect="1" noEditPoints="1"/>
          </p:cNvSpPr>
          <p:nvPr/>
        </p:nvSpPr>
        <p:spPr bwMode="auto">
          <a:xfrm>
            <a:off x="5682271" y="3479212"/>
            <a:ext cx="292993" cy="278661"/>
          </a:xfrm>
          <a:custGeom>
            <a:avLst/>
            <a:gdLst>
              <a:gd name="T0" fmla="*/ 152 w 183"/>
              <a:gd name="T1" fmla="*/ 55 h 174"/>
              <a:gd name="T2" fmla="*/ 104 w 183"/>
              <a:gd name="T3" fmla="*/ 5 h 174"/>
              <a:gd name="T4" fmla="*/ 67 w 183"/>
              <a:gd name="T5" fmla="*/ 24 h 174"/>
              <a:gd name="T6" fmla="*/ 4 w 183"/>
              <a:gd name="T7" fmla="*/ 89 h 174"/>
              <a:gd name="T8" fmla="*/ 29 w 183"/>
              <a:gd name="T9" fmla="*/ 135 h 174"/>
              <a:gd name="T10" fmla="*/ 46 w 183"/>
              <a:gd name="T11" fmla="*/ 174 h 174"/>
              <a:gd name="T12" fmla="*/ 90 w 183"/>
              <a:gd name="T13" fmla="*/ 168 h 174"/>
              <a:gd name="T14" fmla="*/ 132 w 183"/>
              <a:gd name="T15" fmla="*/ 174 h 174"/>
              <a:gd name="T16" fmla="*/ 150 w 183"/>
              <a:gd name="T17" fmla="*/ 136 h 174"/>
              <a:gd name="T18" fmla="*/ 169 w 183"/>
              <a:gd name="T19" fmla="*/ 97 h 174"/>
              <a:gd name="T20" fmla="*/ 174 w 183"/>
              <a:gd name="T21" fmla="*/ 81 h 174"/>
              <a:gd name="T22" fmla="*/ 158 w 183"/>
              <a:gd name="T23" fmla="*/ 94 h 174"/>
              <a:gd name="T24" fmla="*/ 142 w 183"/>
              <a:gd name="T25" fmla="*/ 84 h 174"/>
              <a:gd name="T26" fmla="*/ 150 w 183"/>
              <a:gd name="T27" fmla="*/ 62 h 174"/>
              <a:gd name="T28" fmla="*/ 162 w 183"/>
              <a:gd name="T29" fmla="*/ 61 h 174"/>
              <a:gd name="T30" fmla="*/ 135 w 183"/>
              <a:gd name="T31" fmla="*/ 71 h 174"/>
              <a:gd name="T32" fmla="*/ 96 w 183"/>
              <a:gd name="T33" fmla="*/ 72 h 174"/>
              <a:gd name="T34" fmla="*/ 93 w 183"/>
              <a:gd name="T35" fmla="*/ 46 h 174"/>
              <a:gd name="T36" fmla="*/ 146 w 183"/>
              <a:gd name="T37" fmla="*/ 57 h 174"/>
              <a:gd name="T38" fmla="*/ 100 w 183"/>
              <a:gd name="T39" fmla="*/ 9 h 174"/>
              <a:gd name="T40" fmla="*/ 107 w 183"/>
              <a:gd name="T41" fmla="*/ 28 h 174"/>
              <a:gd name="T42" fmla="*/ 87 w 183"/>
              <a:gd name="T43" fmla="*/ 40 h 174"/>
              <a:gd name="T44" fmla="*/ 73 w 183"/>
              <a:gd name="T45" fmla="*/ 23 h 174"/>
              <a:gd name="T46" fmla="*/ 103 w 183"/>
              <a:gd name="T47" fmla="*/ 106 h 174"/>
              <a:gd name="T48" fmla="*/ 86 w 183"/>
              <a:gd name="T49" fmla="*/ 111 h 174"/>
              <a:gd name="T50" fmla="*/ 76 w 183"/>
              <a:gd name="T51" fmla="*/ 103 h 174"/>
              <a:gd name="T52" fmla="*/ 75 w 183"/>
              <a:gd name="T53" fmla="*/ 87 h 174"/>
              <a:gd name="T54" fmla="*/ 93 w 183"/>
              <a:gd name="T55" fmla="*/ 77 h 174"/>
              <a:gd name="T56" fmla="*/ 107 w 183"/>
              <a:gd name="T57" fmla="*/ 93 h 174"/>
              <a:gd name="T58" fmla="*/ 87 w 183"/>
              <a:gd name="T59" fmla="*/ 46 h 174"/>
              <a:gd name="T60" fmla="*/ 47 w 183"/>
              <a:gd name="T61" fmla="*/ 80 h 174"/>
              <a:gd name="T62" fmla="*/ 68 w 183"/>
              <a:gd name="T63" fmla="*/ 30 h 174"/>
              <a:gd name="T64" fmla="*/ 25 w 183"/>
              <a:gd name="T65" fmla="*/ 60 h 174"/>
              <a:gd name="T66" fmla="*/ 41 w 183"/>
              <a:gd name="T67" fmla="*/ 78 h 174"/>
              <a:gd name="T68" fmla="*/ 33 w 183"/>
              <a:gd name="T69" fmla="*/ 92 h 174"/>
              <a:gd name="T70" fmla="*/ 17 w 183"/>
              <a:gd name="T71" fmla="*/ 93 h 174"/>
              <a:gd name="T72" fmla="*/ 32 w 183"/>
              <a:gd name="T73" fmla="*/ 128 h 174"/>
              <a:gd name="T74" fmla="*/ 36 w 183"/>
              <a:gd name="T75" fmla="*/ 97 h 174"/>
              <a:gd name="T76" fmla="*/ 70 w 183"/>
              <a:gd name="T77" fmla="*/ 106 h 174"/>
              <a:gd name="T78" fmla="*/ 52 w 183"/>
              <a:gd name="T79" fmla="*/ 128 h 174"/>
              <a:gd name="T80" fmla="*/ 32 w 183"/>
              <a:gd name="T81" fmla="*/ 128 h 174"/>
              <a:gd name="T82" fmla="*/ 29 w 183"/>
              <a:gd name="T83" fmla="*/ 146 h 174"/>
              <a:gd name="T84" fmla="*/ 37 w 183"/>
              <a:gd name="T85" fmla="*/ 136 h 174"/>
              <a:gd name="T86" fmla="*/ 54 w 183"/>
              <a:gd name="T87" fmla="*/ 136 h 174"/>
              <a:gd name="T88" fmla="*/ 62 w 183"/>
              <a:gd name="T89" fmla="*/ 155 h 174"/>
              <a:gd name="T90" fmla="*/ 68 w 183"/>
              <a:gd name="T91" fmla="*/ 158 h 174"/>
              <a:gd name="T92" fmla="*/ 79 w 183"/>
              <a:gd name="T93" fmla="*/ 114 h 174"/>
              <a:gd name="T94" fmla="*/ 102 w 183"/>
              <a:gd name="T95" fmla="*/ 114 h 174"/>
              <a:gd name="T96" fmla="*/ 111 w 183"/>
              <a:gd name="T97" fmla="*/ 158 h 174"/>
              <a:gd name="T98" fmla="*/ 149 w 183"/>
              <a:gd name="T99" fmla="*/ 155 h 174"/>
              <a:gd name="T100" fmla="*/ 116 w 183"/>
              <a:gd name="T101" fmla="*/ 156 h 174"/>
              <a:gd name="T102" fmla="*/ 124 w 183"/>
              <a:gd name="T103" fmla="*/ 136 h 174"/>
              <a:gd name="T104" fmla="*/ 137 w 183"/>
              <a:gd name="T105" fmla="*/ 134 h 174"/>
              <a:gd name="T106" fmla="*/ 147 w 183"/>
              <a:gd name="T107" fmla="*/ 142 h 174"/>
              <a:gd name="T108" fmla="*/ 138 w 183"/>
              <a:gd name="T109" fmla="*/ 128 h 174"/>
              <a:gd name="T110" fmla="*/ 113 w 183"/>
              <a:gd name="T111" fmla="*/ 100 h 174"/>
              <a:gd name="T112" fmla="*/ 137 w 183"/>
              <a:gd name="T113" fmla="*/ 89 h 174"/>
              <a:gd name="T114" fmla="*/ 157 w 183"/>
              <a:gd name="T115" fmla="*/ 10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3" h="174">
                <a:moveTo>
                  <a:pt x="163" y="55"/>
                </a:moveTo>
                <a:cubicBezTo>
                  <a:pt x="163" y="55"/>
                  <a:pt x="163" y="55"/>
                  <a:pt x="163" y="55"/>
                </a:cubicBezTo>
                <a:cubicBezTo>
                  <a:pt x="159" y="54"/>
                  <a:pt x="156" y="54"/>
                  <a:pt x="152" y="55"/>
                </a:cubicBezTo>
                <a:cubicBezTo>
                  <a:pt x="143" y="41"/>
                  <a:pt x="130" y="30"/>
                  <a:pt x="113" y="24"/>
                </a:cubicBezTo>
                <a:cubicBezTo>
                  <a:pt x="113" y="23"/>
                  <a:pt x="113" y="21"/>
                  <a:pt x="113" y="19"/>
                </a:cubicBezTo>
                <a:cubicBezTo>
                  <a:pt x="112" y="13"/>
                  <a:pt x="109" y="8"/>
                  <a:pt x="104" y="5"/>
                </a:cubicBezTo>
                <a:cubicBezTo>
                  <a:pt x="98" y="1"/>
                  <a:pt x="92" y="0"/>
                  <a:pt x="86" y="1"/>
                </a:cubicBezTo>
                <a:cubicBezTo>
                  <a:pt x="80" y="2"/>
                  <a:pt x="75" y="5"/>
                  <a:pt x="71" y="10"/>
                </a:cubicBezTo>
                <a:cubicBezTo>
                  <a:pt x="68" y="14"/>
                  <a:pt x="67" y="19"/>
                  <a:pt x="67" y="24"/>
                </a:cubicBezTo>
                <a:cubicBezTo>
                  <a:pt x="51" y="30"/>
                  <a:pt x="37" y="40"/>
                  <a:pt x="28" y="54"/>
                </a:cubicBezTo>
                <a:cubicBezTo>
                  <a:pt x="16" y="52"/>
                  <a:pt x="5" y="60"/>
                  <a:pt x="2" y="71"/>
                </a:cubicBezTo>
                <a:cubicBezTo>
                  <a:pt x="0" y="77"/>
                  <a:pt x="1" y="84"/>
                  <a:pt x="4" y="89"/>
                </a:cubicBezTo>
                <a:cubicBezTo>
                  <a:pt x="7" y="94"/>
                  <a:pt x="12" y="97"/>
                  <a:pt x="17" y="99"/>
                </a:cubicBezTo>
                <a:cubicBezTo>
                  <a:pt x="18" y="110"/>
                  <a:pt x="21" y="121"/>
                  <a:pt x="27" y="132"/>
                </a:cubicBezTo>
                <a:cubicBezTo>
                  <a:pt x="28" y="133"/>
                  <a:pt x="28" y="134"/>
                  <a:pt x="29" y="135"/>
                </a:cubicBezTo>
                <a:cubicBezTo>
                  <a:pt x="26" y="138"/>
                  <a:pt x="24" y="141"/>
                  <a:pt x="23" y="145"/>
                </a:cubicBezTo>
                <a:cubicBezTo>
                  <a:pt x="20" y="157"/>
                  <a:pt x="28" y="170"/>
                  <a:pt x="40" y="173"/>
                </a:cubicBezTo>
                <a:cubicBezTo>
                  <a:pt x="42" y="173"/>
                  <a:pt x="44" y="174"/>
                  <a:pt x="46" y="174"/>
                </a:cubicBezTo>
                <a:cubicBezTo>
                  <a:pt x="54" y="174"/>
                  <a:pt x="61" y="170"/>
                  <a:pt x="65" y="163"/>
                </a:cubicBezTo>
                <a:cubicBezTo>
                  <a:pt x="67" y="164"/>
                  <a:pt x="70" y="165"/>
                  <a:pt x="72" y="165"/>
                </a:cubicBezTo>
                <a:cubicBezTo>
                  <a:pt x="78" y="167"/>
                  <a:pt x="84" y="168"/>
                  <a:pt x="90" y="168"/>
                </a:cubicBezTo>
                <a:cubicBezTo>
                  <a:pt x="98" y="168"/>
                  <a:pt x="106" y="166"/>
                  <a:pt x="113" y="164"/>
                </a:cubicBezTo>
                <a:cubicBezTo>
                  <a:pt x="117" y="168"/>
                  <a:pt x="121" y="172"/>
                  <a:pt x="127" y="173"/>
                </a:cubicBezTo>
                <a:cubicBezTo>
                  <a:pt x="128" y="173"/>
                  <a:pt x="130" y="174"/>
                  <a:pt x="132" y="174"/>
                </a:cubicBezTo>
                <a:cubicBezTo>
                  <a:pt x="143" y="174"/>
                  <a:pt x="152" y="167"/>
                  <a:pt x="155" y="156"/>
                </a:cubicBezTo>
                <a:cubicBezTo>
                  <a:pt x="156" y="150"/>
                  <a:pt x="155" y="144"/>
                  <a:pt x="152" y="139"/>
                </a:cubicBezTo>
                <a:cubicBezTo>
                  <a:pt x="152" y="138"/>
                  <a:pt x="151" y="137"/>
                  <a:pt x="150" y="136"/>
                </a:cubicBezTo>
                <a:cubicBezTo>
                  <a:pt x="155" y="129"/>
                  <a:pt x="159" y="121"/>
                  <a:pt x="162" y="112"/>
                </a:cubicBezTo>
                <a:cubicBezTo>
                  <a:pt x="163" y="108"/>
                  <a:pt x="163" y="104"/>
                  <a:pt x="164" y="99"/>
                </a:cubicBezTo>
                <a:cubicBezTo>
                  <a:pt x="165" y="99"/>
                  <a:pt x="167" y="98"/>
                  <a:pt x="169" y="97"/>
                </a:cubicBezTo>
                <a:cubicBezTo>
                  <a:pt x="174" y="94"/>
                  <a:pt x="178" y="89"/>
                  <a:pt x="180" y="83"/>
                </a:cubicBezTo>
                <a:cubicBezTo>
                  <a:pt x="183" y="71"/>
                  <a:pt x="175" y="58"/>
                  <a:pt x="163" y="55"/>
                </a:cubicBezTo>
                <a:close/>
                <a:moveTo>
                  <a:pt x="174" y="81"/>
                </a:moveTo>
                <a:cubicBezTo>
                  <a:pt x="173" y="86"/>
                  <a:pt x="170" y="90"/>
                  <a:pt x="166" y="92"/>
                </a:cubicBezTo>
                <a:cubicBezTo>
                  <a:pt x="165" y="92"/>
                  <a:pt x="165" y="93"/>
                  <a:pt x="164" y="93"/>
                </a:cubicBezTo>
                <a:cubicBezTo>
                  <a:pt x="162" y="94"/>
                  <a:pt x="160" y="94"/>
                  <a:pt x="158" y="94"/>
                </a:cubicBezTo>
                <a:cubicBezTo>
                  <a:pt x="156" y="94"/>
                  <a:pt x="155" y="94"/>
                  <a:pt x="153" y="94"/>
                </a:cubicBezTo>
                <a:cubicBezTo>
                  <a:pt x="149" y="93"/>
                  <a:pt x="145" y="90"/>
                  <a:pt x="143" y="86"/>
                </a:cubicBezTo>
                <a:cubicBezTo>
                  <a:pt x="142" y="85"/>
                  <a:pt x="142" y="85"/>
                  <a:pt x="142" y="84"/>
                </a:cubicBezTo>
                <a:cubicBezTo>
                  <a:pt x="141" y="82"/>
                  <a:pt x="140" y="80"/>
                  <a:pt x="140" y="78"/>
                </a:cubicBezTo>
                <a:cubicBezTo>
                  <a:pt x="140" y="77"/>
                  <a:pt x="140" y="75"/>
                  <a:pt x="141" y="73"/>
                </a:cubicBezTo>
                <a:cubicBezTo>
                  <a:pt x="142" y="68"/>
                  <a:pt x="145" y="64"/>
                  <a:pt x="150" y="62"/>
                </a:cubicBezTo>
                <a:cubicBezTo>
                  <a:pt x="151" y="61"/>
                  <a:pt x="153" y="60"/>
                  <a:pt x="155" y="60"/>
                </a:cubicBezTo>
                <a:cubicBezTo>
                  <a:pt x="156" y="60"/>
                  <a:pt x="157" y="60"/>
                  <a:pt x="157" y="60"/>
                </a:cubicBezTo>
                <a:cubicBezTo>
                  <a:pt x="159" y="60"/>
                  <a:pt x="160" y="60"/>
                  <a:pt x="162" y="61"/>
                </a:cubicBezTo>
                <a:cubicBezTo>
                  <a:pt x="171" y="63"/>
                  <a:pt x="176" y="72"/>
                  <a:pt x="174" y="81"/>
                </a:cubicBezTo>
                <a:close/>
                <a:moveTo>
                  <a:pt x="146" y="57"/>
                </a:moveTo>
                <a:cubicBezTo>
                  <a:pt x="141" y="60"/>
                  <a:pt x="137" y="65"/>
                  <a:pt x="135" y="71"/>
                </a:cubicBezTo>
                <a:cubicBezTo>
                  <a:pt x="134" y="74"/>
                  <a:pt x="134" y="77"/>
                  <a:pt x="134" y="80"/>
                </a:cubicBezTo>
                <a:cubicBezTo>
                  <a:pt x="112" y="86"/>
                  <a:pt x="112" y="86"/>
                  <a:pt x="112" y="86"/>
                </a:cubicBezTo>
                <a:cubicBezTo>
                  <a:pt x="109" y="79"/>
                  <a:pt x="103" y="74"/>
                  <a:pt x="96" y="72"/>
                </a:cubicBezTo>
                <a:cubicBezTo>
                  <a:pt x="96" y="72"/>
                  <a:pt x="96" y="72"/>
                  <a:pt x="96" y="72"/>
                </a:cubicBezTo>
                <a:cubicBezTo>
                  <a:pt x="95" y="71"/>
                  <a:pt x="94" y="71"/>
                  <a:pt x="93" y="71"/>
                </a:cubicBezTo>
                <a:cubicBezTo>
                  <a:pt x="93" y="46"/>
                  <a:pt x="93" y="46"/>
                  <a:pt x="93" y="46"/>
                </a:cubicBezTo>
                <a:cubicBezTo>
                  <a:pt x="94" y="46"/>
                  <a:pt x="94" y="46"/>
                  <a:pt x="94" y="46"/>
                </a:cubicBezTo>
                <a:cubicBezTo>
                  <a:pt x="103" y="45"/>
                  <a:pt x="110" y="38"/>
                  <a:pt x="112" y="30"/>
                </a:cubicBezTo>
                <a:cubicBezTo>
                  <a:pt x="127" y="35"/>
                  <a:pt x="139" y="45"/>
                  <a:pt x="146" y="57"/>
                </a:cubicBezTo>
                <a:close/>
                <a:moveTo>
                  <a:pt x="76" y="14"/>
                </a:moveTo>
                <a:cubicBezTo>
                  <a:pt x="79" y="10"/>
                  <a:pt x="83" y="7"/>
                  <a:pt x="87" y="7"/>
                </a:cubicBezTo>
                <a:cubicBezTo>
                  <a:pt x="92" y="6"/>
                  <a:pt x="96" y="7"/>
                  <a:pt x="100" y="9"/>
                </a:cubicBezTo>
                <a:cubicBezTo>
                  <a:pt x="104" y="12"/>
                  <a:pt x="106" y="16"/>
                  <a:pt x="107" y="21"/>
                </a:cubicBezTo>
                <a:cubicBezTo>
                  <a:pt x="107" y="21"/>
                  <a:pt x="107" y="22"/>
                  <a:pt x="107" y="23"/>
                </a:cubicBezTo>
                <a:cubicBezTo>
                  <a:pt x="107" y="25"/>
                  <a:pt x="107" y="27"/>
                  <a:pt x="107" y="28"/>
                </a:cubicBezTo>
                <a:cubicBezTo>
                  <a:pt x="105" y="34"/>
                  <a:pt x="100" y="39"/>
                  <a:pt x="93" y="40"/>
                </a:cubicBezTo>
                <a:cubicBezTo>
                  <a:pt x="93" y="40"/>
                  <a:pt x="93" y="40"/>
                  <a:pt x="93" y="40"/>
                </a:cubicBezTo>
                <a:cubicBezTo>
                  <a:pt x="91" y="41"/>
                  <a:pt x="89" y="41"/>
                  <a:pt x="87" y="40"/>
                </a:cubicBezTo>
                <a:cubicBezTo>
                  <a:pt x="81" y="39"/>
                  <a:pt x="76" y="35"/>
                  <a:pt x="74" y="29"/>
                </a:cubicBezTo>
                <a:cubicBezTo>
                  <a:pt x="74" y="28"/>
                  <a:pt x="74" y="27"/>
                  <a:pt x="73" y="26"/>
                </a:cubicBezTo>
                <a:cubicBezTo>
                  <a:pt x="73" y="25"/>
                  <a:pt x="73" y="24"/>
                  <a:pt x="73" y="23"/>
                </a:cubicBezTo>
                <a:cubicBezTo>
                  <a:pt x="73" y="19"/>
                  <a:pt x="74" y="16"/>
                  <a:pt x="76" y="14"/>
                </a:cubicBezTo>
                <a:close/>
                <a:moveTo>
                  <a:pt x="107" y="98"/>
                </a:moveTo>
                <a:cubicBezTo>
                  <a:pt x="106" y="101"/>
                  <a:pt x="105" y="104"/>
                  <a:pt x="103" y="106"/>
                </a:cubicBezTo>
                <a:cubicBezTo>
                  <a:pt x="102" y="107"/>
                  <a:pt x="100" y="108"/>
                  <a:pt x="99" y="109"/>
                </a:cubicBezTo>
                <a:cubicBezTo>
                  <a:pt x="99" y="109"/>
                  <a:pt x="98" y="109"/>
                  <a:pt x="98" y="109"/>
                </a:cubicBezTo>
                <a:cubicBezTo>
                  <a:pt x="94" y="111"/>
                  <a:pt x="90" y="112"/>
                  <a:pt x="86" y="111"/>
                </a:cubicBezTo>
                <a:cubicBezTo>
                  <a:pt x="85" y="110"/>
                  <a:pt x="83" y="110"/>
                  <a:pt x="82" y="109"/>
                </a:cubicBezTo>
                <a:cubicBezTo>
                  <a:pt x="80" y="108"/>
                  <a:pt x="79" y="107"/>
                  <a:pt x="77" y="105"/>
                </a:cubicBezTo>
                <a:cubicBezTo>
                  <a:pt x="77" y="105"/>
                  <a:pt x="76" y="104"/>
                  <a:pt x="76" y="103"/>
                </a:cubicBezTo>
                <a:cubicBezTo>
                  <a:pt x="74" y="100"/>
                  <a:pt x="73" y="96"/>
                  <a:pt x="73" y="93"/>
                </a:cubicBezTo>
                <a:cubicBezTo>
                  <a:pt x="73" y="92"/>
                  <a:pt x="73" y="91"/>
                  <a:pt x="74" y="90"/>
                </a:cubicBezTo>
                <a:cubicBezTo>
                  <a:pt x="74" y="89"/>
                  <a:pt x="74" y="88"/>
                  <a:pt x="75" y="87"/>
                </a:cubicBezTo>
                <a:cubicBezTo>
                  <a:pt x="77" y="82"/>
                  <a:pt x="82" y="78"/>
                  <a:pt x="87" y="77"/>
                </a:cubicBezTo>
                <a:cubicBezTo>
                  <a:pt x="88" y="77"/>
                  <a:pt x="89" y="77"/>
                  <a:pt x="90" y="77"/>
                </a:cubicBezTo>
                <a:cubicBezTo>
                  <a:pt x="91" y="77"/>
                  <a:pt x="92" y="77"/>
                  <a:pt x="93" y="77"/>
                </a:cubicBezTo>
                <a:cubicBezTo>
                  <a:pt x="94" y="77"/>
                  <a:pt x="94" y="77"/>
                  <a:pt x="95" y="78"/>
                </a:cubicBezTo>
                <a:cubicBezTo>
                  <a:pt x="100" y="79"/>
                  <a:pt x="104" y="83"/>
                  <a:pt x="106" y="87"/>
                </a:cubicBezTo>
                <a:cubicBezTo>
                  <a:pt x="107" y="89"/>
                  <a:pt x="107" y="91"/>
                  <a:pt x="107" y="93"/>
                </a:cubicBezTo>
                <a:cubicBezTo>
                  <a:pt x="107" y="95"/>
                  <a:pt x="107" y="97"/>
                  <a:pt x="107" y="98"/>
                </a:cubicBezTo>
                <a:close/>
                <a:moveTo>
                  <a:pt x="68" y="30"/>
                </a:moveTo>
                <a:cubicBezTo>
                  <a:pt x="71" y="39"/>
                  <a:pt x="78" y="45"/>
                  <a:pt x="87" y="46"/>
                </a:cubicBezTo>
                <a:cubicBezTo>
                  <a:pt x="87" y="71"/>
                  <a:pt x="87" y="71"/>
                  <a:pt x="87" y="71"/>
                </a:cubicBezTo>
                <a:cubicBezTo>
                  <a:pt x="79" y="72"/>
                  <a:pt x="72" y="78"/>
                  <a:pt x="69" y="86"/>
                </a:cubicBezTo>
                <a:cubicBezTo>
                  <a:pt x="47" y="80"/>
                  <a:pt x="47" y="80"/>
                  <a:pt x="47" y="80"/>
                </a:cubicBezTo>
                <a:cubicBezTo>
                  <a:pt x="48" y="75"/>
                  <a:pt x="47" y="70"/>
                  <a:pt x="44" y="65"/>
                </a:cubicBezTo>
                <a:cubicBezTo>
                  <a:pt x="42" y="61"/>
                  <a:pt x="38" y="58"/>
                  <a:pt x="34" y="56"/>
                </a:cubicBezTo>
                <a:cubicBezTo>
                  <a:pt x="42" y="44"/>
                  <a:pt x="54" y="35"/>
                  <a:pt x="68" y="30"/>
                </a:cubicBezTo>
                <a:close/>
                <a:moveTo>
                  <a:pt x="8" y="73"/>
                </a:moveTo>
                <a:cubicBezTo>
                  <a:pt x="10" y="65"/>
                  <a:pt x="16" y="60"/>
                  <a:pt x="24" y="60"/>
                </a:cubicBezTo>
                <a:cubicBezTo>
                  <a:pt x="24" y="60"/>
                  <a:pt x="25" y="60"/>
                  <a:pt x="25" y="60"/>
                </a:cubicBezTo>
                <a:cubicBezTo>
                  <a:pt x="26" y="60"/>
                  <a:pt x="27" y="60"/>
                  <a:pt x="28" y="61"/>
                </a:cubicBezTo>
                <a:cubicBezTo>
                  <a:pt x="29" y="61"/>
                  <a:pt x="30" y="61"/>
                  <a:pt x="31" y="62"/>
                </a:cubicBezTo>
                <a:cubicBezTo>
                  <a:pt x="38" y="65"/>
                  <a:pt x="42" y="71"/>
                  <a:pt x="41" y="78"/>
                </a:cubicBezTo>
                <a:cubicBezTo>
                  <a:pt x="41" y="79"/>
                  <a:pt x="41" y="80"/>
                  <a:pt x="41" y="81"/>
                </a:cubicBezTo>
                <a:cubicBezTo>
                  <a:pt x="40" y="82"/>
                  <a:pt x="40" y="83"/>
                  <a:pt x="40" y="84"/>
                </a:cubicBezTo>
                <a:cubicBezTo>
                  <a:pt x="38" y="87"/>
                  <a:pt x="36" y="90"/>
                  <a:pt x="33" y="92"/>
                </a:cubicBezTo>
                <a:cubicBezTo>
                  <a:pt x="30" y="94"/>
                  <a:pt x="26" y="94"/>
                  <a:pt x="23" y="94"/>
                </a:cubicBezTo>
                <a:cubicBezTo>
                  <a:pt x="22" y="94"/>
                  <a:pt x="21" y="94"/>
                  <a:pt x="20" y="94"/>
                </a:cubicBezTo>
                <a:cubicBezTo>
                  <a:pt x="19" y="93"/>
                  <a:pt x="18" y="93"/>
                  <a:pt x="17" y="93"/>
                </a:cubicBezTo>
                <a:cubicBezTo>
                  <a:pt x="14" y="91"/>
                  <a:pt x="11" y="89"/>
                  <a:pt x="9" y="86"/>
                </a:cubicBezTo>
                <a:cubicBezTo>
                  <a:pt x="7" y="82"/>
                  <a:pt x="6" y="77"/>
                  <a:pt x="8" y="73"/>
                </a:cubicBezTo>
                <a:close/>
                <a:moveTo>
                  <a:pt x="32" y="128"/>
                </a:moveTo>
                <a:cubicBezTo>
                  <a:pt x="27" y="120"/>
                  <a:pt x="24" y="110"/>
                  <a:pt x="23" y="100"/>
                </a:cubicBezTo>
                <a:cubicBezTo>
                  <a:pt x="23" y="100"/>
                  <a:pt x="24" y="100"/>
                  <a:pt x="24" y="100"/>
                </a:cubicBezTo>
                <a:cubicBezTo>
                  <a:pt x="28" y="100"/>
                  <a:pt x="32" y="99"/>
                  <a:pt x="36" y="97"/>
                </a:cubicBezTo>
                <a:cubicBezTo>
                  <a:pt x="40" y="94"/>
                  <a:pt x="44" y="90"/>
                  <a:pt x="45" y="86"/>
                </a:cubicBezTo>
                <a:cubicBezTo>
                  <a:pt x="67" y="91"/>
                  <a:pt x="67" y="91"/>
                  <a:pt x="67" y="91"/>
                </a:cubicBezTo>
                <a:cubicBezTo>
                  <a:pt x="67" y="96"/>
                  <a:pt x="68" y="101"/>
                  <a:pt x="70" y="106"/>
                </a:cubicBezTo>
                <a:cubicBezTo>
                  <a:pt x="71" y="107"/>
                  <a:pt x="73" y="109"/>
                  <a:pt x="74" y="110"/>
                </a:cubicBezTo>
                <a:cubicBezTo>
                  <a:pt x="58" y="131"/>
                  <a:pt x="58" y="131"/>
                  <a:pt x="58" y="131"/>
                </a:cubicBezTo>
                <a:cubicBezTo>
                  <a:pt x="56" y="130"/>
                  <a:pt x="54" y="129"/>
                  <a:pt x="52" y="128"/>
                </a:cubicBezTo>
                <a:cubicBezTo>
                  <a:pt x="46" y="127"/>
                  <a:pt x="39" y="128"/>
                  <a:pt x="34" y="131"/>
                </a:cubicBezTo>
                <a:cubicBezTo>
                  <a:pt x="34" y="131"/>
                  <a:pt x="34" y="131"/>
                  <a:pt x="34" y="131"/>
                </a:cubicBezTo>
                <a:cubicBezTo>
                  <a:pt x="33" y="130"/>
                  <a:pt x="33" y="129"/>
                  <a:pt x="32" y="128"/>
                </a:cubicBezTo>
                <a:close/>
                <a:moveTo>
                  <a:pt x="59" y="161"/>
                </a:moveTo>
                <a:cubicBezTo>
                  <a:pt x="55" y="166"/>
                  <a:pt x="48" y="169"/>
                  <a:pt x="41" y="167"/>
                </a:cubicBezTo>
                <a:cubicBezTo>
                  <a:pt x="32" y="165"/>
                  <a:pt x="27" y="156"/>
                  <a:pt x="29" y="146"/>
                </a:cubicBezTo>
                <a:cubicBezTo>
                  <a:pt x="30" y="144"/>
                  <a:pt x="31" y="142"/>
                  <a:pt x="33" y="140"/>
                </a:cubicBezTo>
                <a:cubicBezTo>
                  <a:pt x="34" y="138"/>
                  <a:pt x="35" y="137"/>
                  <a:pt x="37" y="136"/>
                </a:cubicBezTo>
                <a:cubicBezTo>
                  <a:pt x="37" y="136"/>
                  <a:pt x="37" y="136"/>
                  <a:pt x="37" y="136"/>
                </a:cubicBezTo>
                <a:cubicBezTo>
                  <a:pt x="40" y="134"/>
                  <a:pt x="43" y="134"/>
                  <a:pt x="46" y="134"/>
                </a:cubicBezTo>
                <a:cubicBezTo>
                  <a:pt x="47" y="134"/>
                  <a:pt x="49" y="134"/>
                  <a:pt x="50" y="134"/>
                </a:cubicBezTo>
                <a:cubicBezTo>
                  <a:pt x="51" y="134"/>
                  <a:pt x="53" y="135"/>
                  <a:pt x="54" y="136"/>
                </a:cubicBezTo>
                <a:cubicBezTo>
                  <a:pt x="56" y="137"/>
                  <a:pt x="57" y="138"/>
                  <a:pt x="59" y="139"/>
                </a:cubicBezTo>
                <a:cubicBezTo>
                  <a:pt x="62" y="143"/>
                  <a:pt x="64" y="149"/>
                  <a:pt x="62" y="155"/>
                </a:cubicBezTo>
                <a:cubicBezTo>
                  <a:pt x="62" y="155"/>
                  <a:pt x="62" y="155"/>
                  <a:pt x="62" y="155"/>
                </a:cubicBezTo>
                <a:cubicBezTo>
                  <a:pt x="61" y="157"/>
                  <a:pt x="61" y="159"/>
                  <a:pt x="59" y="161"/>
                </a:cubicBezTo>
                <a:close/>
                <a:moveTo>
                  <a:pt x="73" y="160"/>
                </a:moveTo>
                <a:cubicBezTo>
                  <a:pt x="71" y="159"/>
                  <a:pt x="70" y="158"/>
                  <a:pt x="68" y="158"/>
                </a:cubicBezTo>
                <a:cubicBezTo>
                  <a:pt x="68" y="157"/>
                  <a:pt x="68" y="157"/>
                  <a:pt x="68" y="156"/>
                </a:cubicBezTo>
                <a:cubicBezTo>
                  <a:pt x="70" y="148"/>
                  <a:pt x="68" y="140"/>
                  <a:pt x="62" y="135"/>
                </a:cubicBezTo>
                <a:cubicBezTo>
                  <a:pt x="79" y="114"/>
                  <a:pt x="79" y="114"/>
                  <a:pt x="79" y="114"/>
                </a:cubicBezTo>
                <a:cubicBezTo>
                  <a:pt x="80" y="115"/>
                  <a:pt x="82" y="116"/>
                  <a:pt x="85" y="116"/>
                </a:cubicBezTo>
                <a:cubicBezTo>
                  <a:pt x="86" y="117"/>
                  <a:pt x="88" y="117"/>
                  <a:pt x="90" y="117"/>
                </a:cubicBezTo>
                <a:cubicBezTo>
                  <a:pt x="94" y="117"/>
                  <a:pt x="98" y="116"/>
                  <a:pt x="102" y="114"/>
                </a:cubicBezTo>
                <a:cubicBezTo>
                  <a:pt x="116" y="134"/>
                  <a:pt x="116" y="134"/>
                  <a:pt x="116" y="134"/>
                </a:cubicBezTo>
                <a:cubicBezTo>
                  <a:pt x="113" y="137"/>
                  <a:pt x="111" y="141"/>
                  <a:pt x="110" y="145"/>
                </a:cubicBezTo>
                <a:cubicBezTo>
                  <a:pt x="109" y="150"/>
                  <a:pt x="109" y="154"/>
                  <a:pt x="111" y="158"/>
                </a:cubicBezTo>
                <a:cubicBezTo>
                  <a:pt x="99" y="162"/>
                  <a:pt x="86" y="163"/>
                  <a:pt x="73" y="160"/>
                </a:cubicBezTo>
                <a:close/>
                <a:moveTo>
                  <a:pt x="147" y="142"/>
                </a:moveTo>
                <a:cubicBezTo>
                  <a:pt x="149" y="146"/>
                  <a:pt x="150" y="150"/>
                  <a:pt x="149" y="155"/>
                </a:cubicBezTo>
                <a:cubicBezTo>
                  <a:pt x="147" y="164"/>
                  <a:pt x="137" y="170"/>
                  <a:pt x="128" y="167"/>
                </a:cubicBezTo>
                <a:cubicBezTo>
                  <a:pt x="125" y="166"/>
                  <a:pt x="122" y="164"/>
                  <a:pt x="119" y="162"/>
                </a:cubicBezTo>
                <a:cubicBezTo>
                  <a:pt x="118" y="160"/>
                  <a:pt x="117" y="158"/>
                  <a:pt x="116" y="156"/>
                </a:cubicBezTo>
                <a:cubicBezTo>
                  <a:pt x="115" y="153"/>
                  <a:pt x="115" y="150"/>
                  <a:pt x="116" y="146"/>
                </a:cubicBezTo>
                <a:cubicBezTo>
                  <a:pt x="116" y="144"/>
                  <a:pt x="118" y="141"/>
                  <a:pt x="120" y="139"/>
                </a:cubicBezTo>
                <a:cubicBezTo>
                  <a:pt x="121" y="138"/>
                  <a:pt x="122" y="137"/>
                  <a:pt x="124" y="136"/>
                </a:cubicBezTo>
                <a:cubicBezTo>
                  <a:pt x="124" y="136"/>
                  <a:pt x="124" y="136"/>
                  <a:pt x="125" y="135"/>
                </a:cubicBezTo>
                <a:cubicBezTo>
                  <a:pt x="127" y="134"/>
                  <a:pt x="130" y="134"/>
                  <a:pt x="132" y="134"/>
                </a:cubicBezTo>
                <a:cubicBezTo>
                  <a:pt x="134" y="134"/>
                  <a:pt x="135" y="134"/>
                  <a:pt x="137" y="134"/>
                </a:cubicBezTo>
                <a:cubicBezTo>
                  <a:pt x="139" y="135"/>
                  <a:pt x="141" y="136"/>
                  <a:pt x="142" y="137"/>
                </a:cubicBezTo>
                <a:cubicBezTo>
                  <a:pt x="144" y="138"/>
                  <a:pt x="145" y="140"/>
                  <a:pt x="147" y="141"/>
                </a:cubicBezTo>
                <a:cubicBezTo>
                  <a:pt x="147" y="142"/>
                  <a:pt x="147" y="142"/>
                  <a:pt x="147" y="142"/>
                </a:cubicBezTo>
                <a:close/>
                <a:moveTo>
                  <a:pt x="156" y="111"/>
                </a:moveTo>
                <a:cubicBezTo>
                  <a:pt x="154" y="119"/>
                  <a:pt x="150" y="126"/>
                  <a:pt x="146" y="132"/>
                </a:cubicBezTo>
                <a:cubicBezTo>
                  <a:pt x="144" y="130"/>
                  <a:pt x="141" y="129"/>
                  <a:pt x="138" y="128"/>
                </a:cubicBezTo>
                <a:cubicBezTo>
                  <a:pt x="132" y="127"/>
                  <a:pt x="126" y="128"/>
                  <a:pt x="121" y="131"/>
                </a:cubicBezTo>
                <a:cubicBezTo>
                  <a:pt x="106" y="111"/>
                  <a:pt x="106" y="111"/>
                  <a:pt x="106" y="111"/>
                </a:cubicBezTo>
                <a:cubicBezTo>
                  <a:pt x="109" y="108"/>
                  <a:pt x="112" y="104"/>
                  <a:pt x="113" y="100"/>
                </a:cubicBezTo>
                <a:cubicBezTo>
                  <a:pt x="113" y="97"/>
                  <a:pt x="114" y="94"/>
                  <a:pt x="113" y="91"/>
                </a:cubicBezTo>
                <a:cubicBezTo>
                  <a:pt x="136" y="86"/>
                  <a:pt x="136" y="86"/>
                  <a:pt x="136" y="86"/>
                </a:cubicBezTo>
                <a:cubicBezTo>
                  <a:pt x="136" y="87"/>
                  <a:pt x="137" y="88"/>
                  <a:pt x="137" y="89"/>
                </a:cubicBezTo>
                <a:cubicBezTo>
                  <a:pt x="141" y="94"/>
                  <a:pt x="146" y="98"/>
                  <a:pt x="151" y="100"/>
                </a:cubicBezTo>
                <a:cubicBezTo>
                  <a:pt x="153" y="100"/>
                  <a:pt x="155" y="100"/>
                  <a:pt x="157" y="100"/>
                </a:cubicBezTo>
                <a:cubicBezTo>
                  <a:pt x="157" y="100"/>
                  <a:pt x="157" y="100"/>
                  <a:pt x="157" y="100"/>
                </a:cubicBezTo>
                <a:cubicBezTo>
                  <a:pt x="157" y="104"/>
                  <a:pt x="157" y="107"/>
                  <a:pt x="156" y="1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489766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fault Theme" id="{54E87831-3ABD-4442-88C3-71881CA0A1C3}" vid="{8CE091EA-F954-494D-A019-A288DFC1606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c1b6f4da-6f5a-4ad4-ae79-c01bdd3395d0}" enabled="1" method="Privileged" siteId="{b3712af2-6728-4e11-bcea-c85236845f55}" removed="0"/>
</clbl:labelList>
</file>

<file path=docProps/app.xml><?xml version="1.0" encoding="utf-8"?>
<Properties xmlns="http://schemas.openxmlformats.org/officeDocument/2006/extended-properties" xmlns:vt="http://schemas.openxmlformats.org/officeDocument/2006/docPropsVTypes">
  <Template>Default Theme</Template>
  <TotalTime>0</TotalTime>
  <Words>1530</Words>
  <Application>Microsoft Office PowerPoint</Application>
  <PresentationFormat>Custom</PresentationFormat>
  <Paragraphs>147</Paragraphs>
  <Slides>5</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6" baseType="lpstr">
      <vt:lpstr>Arial</vt:lpstr>
      <vt:lpstr>Arial</vt:lpstr>
      <vt:lpstr>Calibri</vt:lpstr>
      <vt:lpstr>Segoe Print</vt:lpstr>
      <vt:lpstr>Segoe UI</vt:lpstr>
      <vt:lpstr>Segoe UI Light</vt:lpstr>
      <vt:lpstr>Segoe UI Semibold</vt:lpstr>
      <vt:lpstr>Segoe UI Semilight</vt:lpstr>
      <vt:lpstr>Times New Roman</vt:lpstr>
      <vt:lpstr>Default theme</vt:lpstr>
      <vt:lpstr>think-cell Slide</vt:lpstr>
      <vt:lpstr>Evaluation of The Indigenous Business and Employment Hubs Program</vt:lpstr>
      <vt:lpstr>To date hub offices have been established in  Perth, Western Sydney, Adelaide and Darwin  and Alice Springs in the Northern Territory.</vt:lpstr>
      <vt:lpstr>The evaluation found that the hubs program is providing valuable support to First Nations businesses</vt:lpstr>
      <vt:lpstr>What interviewees said</vt:lpstr>
      <vt:lpstr>Recommend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15T00:05:13Z</dcterms:created>
  <dcterms:modified xsi:type="dcterms:W3CDTF">2026-04-15T00:05:22Z</dcterms:modified>
</cp:coreProperties>
</file>